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sldIdLst>
    <p:sldId id="413" r:id="rId2"/>
    <p:sldId id="718" r:id="rId3"/>
    <p:sldId id="489" r:id="rId4"/>
    <p:sldId id="428" r:id="rId5"/>
    <p:sldId id="513" r:id="rId6"/>
    <p:sldId id="514" r:id="rId7"/>
    <p:sldId id="454" r:id="rId8"/>
    <p:sldId id="611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86" d="100"/>
          <a:sy n="86" d="100"/>
        </p:scale>
        <p:origin x="882" y="10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210F07-3581-42A1-B357-AA4884B961DB}" type="datetimeFigureOut">
              <a:rPr lang="en-US" smtClean="0"/>
              <a:t>5/2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B1EC04-FEA1-4732-8C14-DEA066FC29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5077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AA5C58-95B0-47FE-A224-91D2DA26BDB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FB07C6D2-ADE5-4D85-A763-1B59C03EE0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54025" y="941388"/>
            <a:ext cx="6191250" cy="3482975"/>
          </a:xfrm>
        </p:spPr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3E847A40-35E1-4A7E-AB06-C9AE4340D3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57395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36550" y="1411288"/>
            <a:ext cx="11520488" cy="3313112"/>
          </a:xfrm>
        </p:spPr>
        <p:txBody>
          <a:bodyPr rIns="0" bIns="144000" anchor="b"/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Presentation title </a:t>
            </a:r>
            <a:br>
              <a:rPr lang="en-GB" noProof="0" dirty="0"/>
            </a:br>
            <a:r>
              <a:rPr lang="en-GB" noProof="0" dirty="0"/>
              <a:t>with a maximum </a:t>
            </a:r>
            <a:br>
              <a:rPr lang="en-GB" noProof="0" dirty="0"/>
            </a:br>
            <a:r>
              <a:rPr lang="en-GB" noProof="0" dirty="0"/>
              <a:t>of three line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251684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9pPr>
          </a:lstStyle>
          <a:p>
            <a:r>
              <a:rPr lang="en-GB" noProof="0" dirty="0" err="1"/>
              <a:t>Subtitle</a:t>
            </a:r>
            <a:endParaRPr lang="en-GB" noProof="0" dirty="0"/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9B8A9EC-5AE1-4C2A-BBEE-518EA4E035A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 wrap="none"/>
          <a:lstStyle/>
          <a:p>
            <a:fld id="{8AC6333F-E990-4CC7-9D46-CA6FA816F1E0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F6EECD-F0A5-46EC-82DC-A250C2AA7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3F6537-555F-452F-82FA-B188EF50A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 wrap="none"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4A8792F-C021-10A8-97A6-04D7CF461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tretch/>
        </p:blipFill>
        <p:spPr>
          <a:xfrm>
            <a:off x="5519739" y="521217"/>
            <a:ext cx="1153167" cy="768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249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838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F01BF3-5E3B-4F8E-AB3B-E070AB6B021B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B2B79E68-AC56-4537-BFE7-BEF90AA3B048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C1E8F5-1397-40A5-BFBE-A95E21862C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15F1C2-5BA9-4DB4-96CD-50E2D6AFA0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CF5491CC-BC46-4FAF-8941-63A9EDD159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3743325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A815259B-F024-43CC-A198-7A0FD63493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224338" y="1411288"/>
            <a:ext cx="3743325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C7C123BB-7B12-4D15-B032-4C6DF2CDB1C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113713" y="1411288"/>
            <a:ext cx="3743325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65938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526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F01BF3-5E3B-4F8E-AB3B-E070AB6B021B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B47028EF-8E35-4902-B13E-C3EB17E15FE2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C1E8F5-1397-40A5-BFBE-A95E21862C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15F1C2-5BA9-4DB4-96CD-50E2D6AFA0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65C92D5E-BAAA-4905-80BA-1716901F5A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9"/>
            <a:ext cx="3743325" cy="2449512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71B1F06B-EC08-416F-AAA1-411EE8FDAD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224338" y="1411289"/>
            <a:ext cx="3743325" cy="2449512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F263A0A-5B2A-46E3-96AF-64D01FB467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113713" y="1411289"/>
            <a:ext cx="3743325" cy="2449512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F57CC67B-5299-44AE-9A67-0821F16B02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36550" y="4005263"/>
            <a:ext cx="3743325" cy="2449512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1C28694A-CE82-4FA0-A5F9-9E2D3E32D2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224338" y="4005263"/>
            <a:ext cx="3743325" cy="2449512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5DC14125-2FF9-4F77-8D9A-CE2533E3801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113713" y="4005263"/>
            <a:ext cx="3743325" cy="2449512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32667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8FCD488-FFFB-C9FF-980B-FF682F3A7CC9}"/>
              </a:ext>
            </a:extLst>
          </p:cNvPr>
          <p:cNvSpPr/>
          <p:nvPr userDrawn="1"/>
        </p:nvSpPr>
        <p:spPr bwMode="gray">
          <a:xfrm>
            <a:off x="11500842" y="239316"/>
            <a:ext cx="467915" cy="401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CH" sz="1200" b="1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762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12124" y="0"/>
            <a:ext cx="4079875" cy="6453188"/>
          </a:xfrm>
          <a:noFill/>
        </p:spPr>
        <p:txBody>
          <a:bodyPr lIns="468000" tIns="0" rIns="46800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Make sure that the logo is in the foreground and choose petrol as the logo </a:t>
            </a:r>
            <a:r>
              <a:rPr lang="en-GB" noProof="0" dirty="0" err="1"/>
              <a:t>colour</a:t>
            </a:r>
            <a:r>
              <a:rPr lang="en-GB" noProof="0" dirty="0"/>
              <a:t> for light images.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59D8B67-F448-4FDD-984D-6E7554F5E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49" y="1"/>
            <a:ext cx="7631113" cy="1125538"/>
          </a:xfrm>
        </p:spPr>
        <p:txBody>
          <a:bodyPr vert="horz" rIns="0"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1DA9E7-F5BE-4A84-8E7B-D736D9ED935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15885F25-9170-4870-8F93-BEB655E9799D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2384B9A-4174-4D9D-9EF8-E59B4C9515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1FA5FD0-3E85-4292-A0CE-868AE00072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A18482F0-D25F-485F-A038-1D3375E1D7E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6550" y="1411288"/>
            <a:ext cx="7631106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86446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F1797264-1827-0C83-AA06-67DCF762E92C}"/>
              </a:ext>
            </a:extLst>
          </p:cNvPr>
          <p:cNvSpPr/>
          <p:nvPr userDrawn="1"/>
        </p:nvSpPr>
        <p:spPr bwMode="gray">
          <a:xfrm>
            <a:off x="11500842" y="239316"/>
            <a:ext cx="467915" cy="401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CH" sz="1200" b="1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7670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67438" y="0"/>
            <a:ext cx="6024562" cy="6453188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Make sure that the logo is in the foreground and choose petrol as the logo </a:t>
            </a:r>
            <a:r>
              <a:rPr lang="en-GB" noProof="0" dirty="0" err="1"/>
              <a:t>colour</a:t>
            </a:r>
            <a:r>
              <a:rPr lang="en-GB" noProof="0" dirty="0"/>
              <a:t> for light images.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59D8B67-F448-4FDD-984D-6E7554F5E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1"/>
            <a:ext cx="5688012" cy="1125538"/>
          </a:xfrm>
        </p:spPr>
        <p:txBody>
          <a:bodyPr vert="horz" rIns="0"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7DAB839-6EDD-4178-BE8E-588EF7241AAC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9424015E-838A-4552-90EC-3A24A1A65D7F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7DBB78D-8B69-45E8-8385-9B8830A13C0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35C623B-FA1D-4980-87F5-04FA7F9DBE1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687DD334-3B2F-492A-B1F9-37793F971B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6550" y="1411288"/>
            <a:ext cx="5688012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43222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Full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3D84946B-E163-4ADA-8A99-DC1319431949}"/>
              </a:ext>
            </a:extLst>
          </p:cNvPr>
          <p:cNvSpPr/>
          <p:nvPr userDrawn="1"/>
        </p:nvSpPr>
        <p:spPr bwMode="gray">
          <a:xfrm>
            <a:off x="0" y="0"/>
            <a:ext cx="12192000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200" b="1">
              <a:solidFill>
                <a:schemeClr val="bg1"/>
              </a:solidFill>
            </a:endParaRP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CEC443DD-2BF6-4B18-84D7-A28FE56FF2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453188"/>
          </a:xfrm>
          <a:solidFill>
            <a:schemeClr val="accent1"/>
          </a:solidFill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Make sure that the logo is in the foreground and choose petrol as the logo </a:t>
            </a:r>
            <a:r>
              <a:rPr lang="en-GB" noProof="0" dirty="0" err="1"/>
              <a:t>colour</a:t>
            </a:r>
            <a:r>
              <a:rPr lang="en-GB" noProof="0" dirty="0"/>
              <a:t> for light images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2F830EA-47C1-4965-BD05-B1B8E92212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22437" y="1412876"/>
            <a:ext cx="7218363" cy="331152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4800"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bg1"/>
                </a:solidFill>
              </a:defRPr>
            </a:lvl2pPr>
            <a:lvl3pPr marL="180000" indent="-180000"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Insert highlight </a:t>
            </a:r>
            <a:r>
              <a:rPr lang="en-GB" noProof="0" dirty="0" err="1"/>
              <a:t>text</a:t>
            </a:r>
            <a:endParaRPr lang="en-GB" noProof="0" dirty="0"/>
          </a:p>
          <a:p>
            <a:pPr lvl="1"/>
            <a:r>
              <a:rPr lang="en-GB" noProof="0" dirty="0"/>
              <a:t>Second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2"/>
            <a:r>
              <a:rPr lang="en-GB" noProof="0" dirty="0"/>
              <a:t>Third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3"/>
            <a:r>
              <a:rPr lang="en-GB" noProof="0" dirty="0" err="1"/>
              <a:t>Fourth</a:t>
            </a:r>
            <a:r>
              <a:rPr lang="en-GB" noProof="0" dirty="0"/>
              <a:t>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CF53ED3-38A7-4F5B-8F74-CF94F11AE3B5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9CCC66F6-683B-4731-9E4C-AA6BAA02383A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DB4A587-2B48-47E5-8FC8-FCC736BF5F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9E580F-6707-42B3-AB53-A8B38B0BBB5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CF59287-810C-47D8-BAD6-E90E56A6D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722436" y="836613"/>
            <a:ext cx="5094289" cy="574675"/>
          </a:xfrm>
        </p:spPr>
        <p:txBody>
          <a:bodyPr tIns="144000" rIns="0"/>
          <a:lstStyle>
            <a:lvl1pPr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er </a:t>
            </a:r>
            <a:r>
              <a:rPr lang="en-GB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4008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29263CD-4DAA-4FE8-8578-43A31A8780D4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67438" y="1411288"/>
            <a:ext cx="2773363" cy="5041899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FE7000F-F103-49B3-A2C9-FE901A2D34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9083674" y="1411288"/>
            <a:ext cx="2773363" cy="5041899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9094ED5F-72E2-4E12-8A00-EC304260D7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5688013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29423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69E8CFE-7731-4C62-A415-7E3C61628EF0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251201" y="1411287"/>
            <a:ext cx="2771774" cy="5041899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FE7000F-F103-49B3-A2C9-FE901A2D341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167438" y="1411287"/>
            <a:ext cx="2771774" cy="5041899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6018F24F-3A27-42DA-B136-26A31096759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083675" y="1411287"/>
            <a:ext cx="2771774" cy="5041899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7CE806B6-1279-4030-A8DE-41213B965F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2770188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68491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D2BCB9F-B39D-4C9B-A907-871A2E4EE83D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11518899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41285858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E9AB441-1F59-49B6-A511-294DCBF1C51D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5688011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67437" y="1411288"/>
            <a:ext cx="5688011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2133427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26CBB85-F4A3-430A-A913-4EA689F01621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1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24338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3EAD474-945A-49D3-BA33-F439607C587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12126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4043567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Petrol /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18895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Presentation title </a:t>
            </a:r>
            <a:br>
              <a:rPr lang="en-GB" noProof="0" dirty="0"/>
            </a:br>
            <a:r>
              <a:rPr lang="en-GB" noProof="0" dirty="0"/>
              <a:t>with a maximum </a:t>
            </a:r>
            <a:br>
              <a:rPr lang="en-GB" noProof="0" dirty="0"/>
            </a:br>
            <a:r>
              <a:rPr lang="en-GB" noProof="0" dirty="0"/>
              <a:t>of three line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3251684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9pPr>
          </a:lstStyle>
          <a:p>
            <a:r>
              <a:rPr lang="en-GB" noProof="0" dirty="0" err="1"/>
              <a:t>Subtitle</a:t>
            </a:r>
            <a:endParaRPr lang="en-GB" noProof="0" dirty="0"/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inv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6E7008C-2C7E-41ED-9F05-C6A0BDF77AA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4CA0763-CDD6-455A-9FD9-858B31F59323}" type="datetime1">
              <a:rPr lang="en-GB" noProof="0" smtClean="0"/>
              <a:t>26/05/2023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C2CF0B-622F-4545-BE11-8DDD05100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E393D8-FCE9-4E38-87AE-611557F69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E6ECDDA-B596-0938-EB29-FEBDE4CA6C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5519738" y="520486"/>
            <a:ext cx="1152526" cy="76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3615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F94A826-9A38-4339-83C8-4FFF0A7B2F6B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C1CE1843-50B6-43F2-940C-3D088A7ED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7" name="Bildplatzhalter 8">
            <a:extLst>
              <a:ext uri="{FF2B5EF4-FFF2-40B4-BE49-F238E27FC236}">
                <a16:creationId xmlns:a16="http://schemas.microsoft.com/office/drawing/2014/main" id="{B1A47615-1FA6-4D87-AF71-A2E9F981A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51407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3EAD474-945A-49D3-BA33-F439607C587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67437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20157F93-CAFF-4A26-B7A5-93B3E4E943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082568" y="1411288"/>
            <a:ext cx="2773155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41292491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Pictur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E69FA41-B8C5-46BD-8E72-718A925C0A7F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9A623B57-1102-44D9-B1B6-4E17A68D93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1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A82A0161-3FE9-4403-AE5C-565B29333E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24338" y="1411288"/>
            <a:ext cx="3743324" cy="5041900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C24B0E04-EF03-4201-BA65-AA421A728B0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12126" y="1411288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A058E0CE-3B5A-4CBE-95CF-704E229BEC3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6551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22" name="Bildplatzhalter 8">
            <a:extLst>
              <a:ext uri="{FF2B5EF4-FFF2-40B4-BE49-F238E27FC236}">
                <a16:creationId xmlns:a16="http://schemas.microsoft.com/office/drawing/2014/main" id="{78CDFF39-B853-4D83-8433-E4559C62694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12126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11115350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211E17-AEA1-4E11-9AC2-3A2199F911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to edit 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358B7C0-0247-405F-8559-68AEBF1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200958A-DDE6-4528-A38A-CAE4B1C311CD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6AEAC1-3766-423F-81D5-D7FAEFFA5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E4EAF3-3870-400C-8EC4-AC9F3893D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4EF8E4A7-B965-4790-8BDD-1E1DF4817A0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1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C3A95073-1B51-4ADF-8F96-E4C84B1101F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24338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5F59BAA5-C9C9-49A1-BBE9-B7C98BB158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12126" y="1411288"/>
            <a:ext cx="3743324" cy="2449512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6CF86C4-B871-4E6C-A72D-FE10F8E4213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36551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3C2A06D1-8FFB-41EA-BF69-68EEC7702D2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4338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2C8BF51C-A7F1-4507-BB17-25073365B25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8112126" y="4005262"/>
            <a:ext cx="3743324" cy="2447925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33492431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E8E5B0D-9C22-438C-8C31-4E9389D516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278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E8E5B0D-9C22-438C-8C31-4E9389D516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816DA9D-D2BE-4E0E-A5A8-8715DF27BE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550" y="0"/>
            <a:ext cx="11518900" cy="4004667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200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200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100%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51200" y="5155606"/>
            <a:ext cx="5689600" cy="1297582"/>
          </a:xfrm>
        </p:spPr>
        <p:txBody>
          <a:bodyPr/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Click </a:t>
            </a:r>
            <a:r>
              <a:rPr lang="en-GB" dirty="0" err="1"/>
              <a:t>to</a:t>
            </a:r>
            <a:r>
              <a:rPr lang="en-GB" dirty="0"/>
              <a:t> </a:t>
            </a:r>
            <a:r>
              <a:rPr lang="en-GB" dirty="0" err="1"/>
              <a:t>edit</a:t>
            </a:r>
            <a:r>
              <a:rPr lang="en-GB" dirty="0"/>
              <a:t> </a:t>
            </a:r>
            <a:r>
              <a:rPr lang="en-GB" dirty="0" err="1"/>
              <a:t>text</a:t>
            </a:r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7AC2E15-C1F4-4005-BE2B-EEE437719B68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797C39E8-CAB2-4B5D-9578-974EAC2B9D94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F9BD44-96D2-4326-8E57-5D0B294639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45491B-74AB-4CF6-9AC6-E80178BCE8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BB9208B-8121-464A-8899-BDC6155930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251200" y="4004667"/>
            <a:ext cx="5689600" cy="1150939"/>
          </a:xfrm>
        </p:spPr>
        <p:txBody>
          <a:bodyPr tIns="0" rIns="0"/>
          <a:lstStyle>
            <a:lvl1pPr algn="ctr">
              <a:defRPr/>
            </a:lvl1pPr>
          </a:lstStyle>
          <a:p>
            <a:r>
              <a:rPr lang="en-GB" dirty="0"/>
              <a:t>Click </a:t>
            </a:r>
            <a:r>
              <a:rPr lang="en-GB" dirty="0" err="1"/>
              <a:t>to</a:t>
            </a:r>
            <a:r>
              <a:rPr lang="en-GB" dirty="0"/>
              <a:t> </a:t>
            </a:r>
            <a:r>
              <a:rPr lang="en-GB" dirty="0" err="1"/>
              <a:t>edit</a:t>
            </a:r>
            <a:r>
              <a:rPr lang="en-GB" dirty="0"/>
              <a:t> </a:t>
            </a:r>
            <a:r>
              <a:rPr lang="en-GB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383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3E44ED3-CF40-4D39-A592-54FB189FA1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145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3E44ED3-CF40-4D39-A592-54FB189FA1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0816DA9D-D2BE-4E0E-A5A8-8715DF27BE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550" y="1125538"/>
            <a:ext cx="5688013" cy="2303462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100%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6550" y="4724400"/>
            <a:ext cx="5688013" cy="172878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Click </a:t>
            </a:r>
            <a:r>
              <a:rPr lang="en-GB" dirty="0" err="1"/>
              <a:t>to</a:t>
            </a:r>
            <a:r>
              <a:rPr lang="en-GB" dirty="0"/>
              <a:t> </a:t>
            </a:r>
            <a:r>
              <a:rPr lang="en-GB" dirty="0" err="1"/>
              <a:t>edit</a:t>
            </a:r>
            <a:r>
              <a:rPr lang="en-GB" dirty="0"/>
              <a:t> </a:t>
            </a:r>
            <a:r>
              <a:rPr lang="en-GB" dirty="0" err="1"/>
              <a:t>text</a:t>
            </a:r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7AC2E15-C1F4-4005-BE2B-EEE437719B68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B5C225C5-05F8-41D1-9BBF-7974E0A56DA6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7F9BD44-96D2-4326-8E57-5D0B294639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45491B-74AB-4CF6-9AC6-E80178BCE8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35BE10ED-69AC-4620-BD68-23B7AF9C487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36551" y="3429000"/>
            <a:ext cx="5688012" cy="1295400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/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Click </a:t>
            </a:r>
            <a:r>
              <a:rPr lang="en-GB" dirty="0" err="1"/>
              <a:t>to</a:t>
            </a:r>
            <a:r>
              <a:rPr lang="en-GB" dirty="0"/>
              <a:t> </a:t>
            </a:r>
            <a:r>
              <a:rPr lang="en-GB" dirty="0" err="1"/>
              <a:t>edit</a:t>
            </a:r>
            <a:r>
              <a:rPr lang="en-GB" dirty="0"/>
              <a:t> </a:t>
            </a:r>
            <a:r>
              <a:rPr lang="en-GB" dirty="0" err="1"/>
              <a:t>text</a:t>
            </a:r>
            <a:endParaRPr lang="en-GB" noProof="0" dirty="0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E1303003-72BC-4F2D-AABF-B4153A9F51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167439" y="1125538"/>
            <a:ext cx="5689600" cy="2303462"/>
          </a:xfrm>
        </p:spPr>
        <p:txBody>
          <a:bodyPr wrap="square" anchor="b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1500" b="1">
                <a:solidFill>
                  <a:schemeClr val="accent2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500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100%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2B6D0FF4-26E7-47A8-91E4-49520D1796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167438" y="4724400"/>
            <a:ext cx="5689600" cy="172878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Click </a:t>
            </a:r>
            <a:r>
              <a:rPr lang="en-GB" dirty="0" err="1"/>
              <a:t>to</a:t>
            </a:r>
            <a:r>
              <a:rPr lang="en-GB" dirty="0"/>
              <a:t> </a:t>
            </a:r>
            <a:r>
              <a:rPr lang="en-GB" dirty="0" err="1"/>
              <a:t>edit</a:t>
            </a:r>
            <a:r>
              <a:rPr lang="en-GB" dirty="0"/>
              <a:t> </a:t>
            </a:r>
            <a:r>
              <a:rPr lang="en-GB" dirty="0" err="1"/>
              <a:t>text</a:t>
            </a:r>
            <a:endParaRPr lang="en-GB" noProof="0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961F0CB-55DD-4B93-BAC0-8CEB8FC904A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167438" y="3429000"/>
            <a:ext cx="5689600" cy="1295400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/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Click </a:t>
            </a:r>
            <a:r>
              <a:rPr lang="en-GB" dirty="0" err="1"/>
              <a:t>to</a:t>
            </a:r>
            <a:r>
              <a:rPr lang="en-GB" dirty="0"/>
              <a:t> </a:t>
            </a:r>
            <a:r>
              <a:rPr lang="en-GB" dirty="0" err="1"/>
              <a:t>edit</a:t>
            </a:r>
            <a:r>
              <a:rPr lang="en-GB" dirty="0"/>
              <a:t> </a:t>
            </a:r>
            <a:r>
              <a:rPr lang="en-GB" dirty="0" err="1"/>
              <a:t>text</a:t>
            </a:r>
            <a:endParaRPr lang="en-GB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99FEA71-D758-4C45-A4B8-27C089EE8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3701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5C1FFB7-E45A-487F-9DA5-4D1DFF6841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1" y="-1"/>
            <a:ext cx="11518898" cy="3428999"/>
          </a:xfrm>
        </p:spPr>
        <p:txBody>
          <a:bodyPr tIns="360000" rIns="0" anchor="b"/>
          <a:lstStyle>
            <a:lvl1pPr algn="ctr">
              <a:defRPr sz="4800"/>
            </a:lvl1pPr>
          </a:lstStyle>
          <a:p>
            <a:r>
              <a:rPr lang="en-GB" dirty="0"/>
              <a:t>„Quote“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24337" y="4293096"/>
            <a:ext cx="3743325" cy="575767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/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noProof="0" dirty="0"/>
              <a:t>Name </a:t>
            </a:r>
            <a:r>
              <a:rPr lang="en-GB" noProof="0" dirty="0" err="1"/>
              <a:t>Surname</a:t>
            </a:r>
            <a:endParaRPr lang="en-GB" noProof="0" dirty="0"/>
          </a:p>
          <a:p>
            <a:pPr lvl="0"/>
            <a:r>
              <a:rPr lang="en-GB" noProof="0" dirty="0"/>
              <a:t>Position, Description, …</a:t>
            </a:r>
          </a:p>
        </p:txBody>
      </p:sp>
      <p:sp>
        <p:nvSpPr>
          <p:cNvPr id="11" name="Google Shape;192;p37">
            <a:extLst>
              <a:ext uri="{FF2B5EF4-FFF2-40B4-BE49-F238E27FC236}">
                <a16:creationId xmlns:a16="http://schemas.microsoft.com/office/drawing/2014/main" id="{52B73378-B483-470B-86EB-BAFC200D6F4B}"/>
              </a:ext>
            </a:extLst>
          </p:cNvPr>
          <p:cNvSpPr/>
          <p:nvPr userDrawn="1"/>
        </p:nvSpPr>
        <p:spPr bwMode="gray">
          <a:xfrm>
            <a:off x="5232000" y="3717032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919CABA2-15F9-4631-B1E7-4880409683B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5521289" y="4869160"/>
            <a:ext cx="1152525" cy="1150937"/>
          </a:xfrm>
          <a:prstGeom prst="ellipse">
            <a:avLst/>
          </a:prstGeom>
          <a:noFill/>
        </p:spPr>
        <p:txBody>
          <a:bodyPr lIns="0" tIns="0" rIns="324000" bIns="576000" anchor="b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76E2B5-E827-4327-8AF9-3BD1D72F0E92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F43ABF8E-E600-471E-91A1-0D151EDD8D77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1343C8-5C6F-4A2A-91D5-C3CA7B2576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06464E-8FE7-4C45-8743-A0134C1832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</p:spTree>
    <p:extLst>
      <p:ext uri="{BB962C8B-B14F-4D97-AF65-F5344CB8AC3E}">
        <p14:creationId xmlns:p14="http://schemas.microsoft.com/office/powerpoint/2010/main" val="36085788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493CB55-B2EA-48C1-B7E1-DDEC6D84F98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accent1"/>
          </a:solidFill>
        </p:spPr>
        <p:txBody>
          <a:bodyPr lIns="0" tIns="0" rIns="0" bIns="576000" anchor="b"/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Make sure that the logo is in the foreground and choose petrol as the logo </a:t>
            </a:r>
            <a:r>
              <a:rPr lang="en-GB" noProof="0" dirty="0" err="1"/>
              <a:t>colour</a:t>
            </a:r>
            <a:r>
              <a:rPr lang="en-GB" noProof="0" dirty="0"/>
              <a:t> for light images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30E42B-4757-47CD-8114-9C88FB35A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24339" y="4293096"/>
            <a:ext cx="3743324" cy="575767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>
                <a:solidFill>
                  <a:schemeClr val="bg1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Name </a:t>
            </a:r>
            <a:r>
              <a:rPr lang="en-GB" noProof="0" dirty="0" err="1"/>
              <a:t>Surname</a:t>
            </a:r>
            <a:endParaRPr lang="en-GB" noProof="0" dirty="0"/>
          </a:p>
          <a:p>
            <a:pPr lvl="0"/>
            <a:r>
              <a:rPr lang="en-GB" noProof="0" dirty="0"/>
              <a:t>Position, Description, …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76E2B5-E827-4327-8AF9-3BD1D72F0E92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4821B7-6739-43CB-B6CE-9164AB94BD61}" type="datetime1">
              <a:rPr lang="en-GB" noProof="0" smtClean="0"/>
              <a:t>26/05/2023</a:t>
            </a:fld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1343C8-5C6F-4A2A-91D5-C3CA7B2576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ommerzbank AG, Max Mustermann, GM-C Brand Management 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06464E-8FE7-4C45-8743-A0134C1832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10" name="SmartArt-Platzhalter 11">
            <a:extLst>
              <a:ext uri="{FF2B5EF4-FFF2-40B4-BE49-F238E27FC236}">
                <a16:creationId xmlns:a16="http://schemas.microsoft.com/office/drawing/2014/main" id="{10D8EF99-7F22-4D85-997D-CBFB7B4C7E48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5" name="SmartArt-Platzhalter 4">
            <a:extLst>
              <a:ext uri="{FF2B5EF4-FFF2-40B4-BE49-F238E27FC236}">
                <a16:creationId xmlns:a16="http://schemas.microsoft.com/office/drawing/2014/main" id="{C921B45A-A21B-4806-B964-F27C7867625B}"/>
              </a:ext>
            </a:extLst>
          </p:cNvPr>
          <p:cNvSpPr>
            <a:spLocks noGrp="1"/>
          </p:cNvSpPr>
          <p:nvPr>
            <p:ph type="dgm" sz="quarter" idx="23" hasCustomPrompt="1"/>
          </p:nvPr>
        </p:nvSpPr>
        <p:spPr bwMode="gray">
          <a:xfrm>
            <a:off x="5232001" y="3717032"/>
            <a:ext cx="1731102" cy="14242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noProof="0"/>
              <a:t> </a:t>
            </a:r>
          </a:p>
        </p:txBody>
      </p:sp>
      <p:sp>
        <p:nvSpPr>
          <p:cNvPr id="11" name="Titel 3">
            <a:extLst>
              <a:ext uri="{FF2B5EF4-FFF2-40B4-BE49-F238E27FC236}">
                <a16:creationId xmlns:a16="http://schemas.microsoft.com/office/drawing/2014/main" id="{2DC04B09-674F-42AE-99EC-BAFCE0C9A5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1" y="-1"/>
            <a:ext cx="11518898" cy="3428999"/>
          </a:xfrm>
        </p:spPr>
        <p:txBody>
          <a:bodyPr tIns="360000" rIns="0"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„Quote“</a:t>
            </a:r>
          </a:p>
        </p:txBody>
      </p:sp>
    </p:spTree>
    <p:extLst>
      <p:ext uri="{BB962C8B-B14F-4D97-AF65-F5344CB8AC3E}">
        <p14:creationId xmlns:p14="http://schemas.microsoft.com/office/powerpoint/2010/main" val="485467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hidden">
          <a:xfrm>
            <a:off x="8112125" y="0"/>
            <a:ext cx="4079874" cy="6453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200" b="1"/>
          </a:p>
        </p:txBody>
      </p:sp>
      <p:pic>
        <p:nvPicPr>
          <p:cNvPr id="16" name="Grafik 15" descr="Ein Bild, das Text, Anzeige, Nachthimmel enthält.&#10;&#10;Automatisch generierte Beschreibung">
            <a:extLst>
              <a:ext uri="{FF2B5EF4-FFF2-40B4-BE49-F238E27FC236}">
                <a16:creationId xmlns:a16="http://schemas.microsoft.com/office/drawing/2014/main" id="{50052273-6F2C-46C2-A927-8BBBEF5783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66725" y="1410971"/>
            <a:ext cx="7686480" cy="438502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0"/>
            <a:ext cx="7631114" cy="1123950"/>
          </a:xfrm>
        </p:spPr>
        <p:txBody>
          <a:bodyPr rIns="0"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69392B6-02DE-4D60-A095-1F54BD5A4706}" type="datetime1">
              <a:rPr lang="en-GB" smtClean="0"/>
              <a:t>26/05/2023</a:t>
            </a:fld>
            <a:endParaRPr lang="en-GB" sz="8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smtClean="0"/>
              <a:pPr/>
              <a:t>‹#›</a:t>
            </a:fld>
            <a:endParaRPr lang="en-GB" b="0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83523130-AFA1-42E4-AC66-26873E9A9CF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04792" y="1644285"/>
            <a:ext cx="6010349" cy="3735436"/>
          </a:xfrm>
          <a:custGeom>
            <a:avLst/>
            <a:gdLst>
              <a:gd name="connsiteX0" fmla="*/ 0 w 6010349"/>
              <a:gd name="connsiteY0" fmla="*/ 0 h 3735436"/>
              <a:gd name="connsiteX1" fmla="*/ 6010349 w 6010349"/>
              <a:gd name="connsiteY1" fmla="*/ 0 h 3735436"/>
              <a:gd name="connsiteX2" fmla="*/ 6010349 w 6010349"/>
              <a:gd name="connsiteY2" fmla="*/ 3735436 h 3735436"/>
              <a:gd name="connsiteX3" fmla="*/ 0 w 6010349"/>
              <a:gd name="connsiteY3" fmla="*/ 3735436 h 3735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0349" h="3735436">
                <a:moveTo>
                  <a:pt x="0" y="0"/>
                </a:moveTo>
                <a:lnTo>
                  <a:pt x="6010349" y="0"/>
                </a:lnTo>
                <a:lnTo>
                  <a:pt x="6010349" y="3735436"/>
                </a:lnTo>
                <a:lnTo>
                  <a:pt x="0" y="3735436"/>
                </a:lnTo>
                <a:close/>
              </a:path>
            </a:pathLst>
          </a:custGeom>
          <a:noFill/>
        </p:spPr>
        <p:txBody>
          <a:bodyPr wrap="square" lIns="0" tIns="0" rIns="0" bIns="576000" anchor="b">
            <a:noAutofit/>
          </a:bodyPr>
          <a:lstStyle>
            <a:lvl1pPr marL="0" indent="0" algn="ctr"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095A8B34-4A01-456A-B199-E260D41644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3743326" cy="5041901"/>
          </a:xfrm>
        </p:spPr>
        <p:txBody>
          <a:bodyPr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12" name="Freihandform: Form 10">
            <a:extLst>
              <a:ext uri="{FF2B5EF4-FFF2-40B4-BE49-F238E27FC236}">
                <a16:creationId xmlns:a16="http://schemas.microsoft.com/office/drawing/2014/main" id="{0958553A-1F26-4760-A58A-A319207AD8DE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063150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4" y="0"/>
            <a:ext cx="4079875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200" b="1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0"/>
            <a:ext cx="7631114" cy="1123950"/>
          </a:xfrm>
        </p:spPr>
        <p:txBody>
          <a:bodyPr rIns="0"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3E5B39-9EF0-488E-B68D-01D7B63E9A97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9B47EE3E-3303-4D5D-8EAB-8FF2A3660B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5688013" cy="5041901"/>
          </a:xfrm>
        </p:spPr>
        <p:txBody>
          <a:bodyPr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pic>
        <p:nvPicPr>
          <p:cNvPr id="18" name="Grafik 17" descr="Ein Bild, das Text, Monitor, Screenshot enthält.&#10;&#10;Automatisch generierte Beschreibung">
            <a:extLst>
              <a:ext uri="{FF2B5EF4-FFF2-40B4-BE49-F238E27FC236}">
                <a16:creationId xmlns:a16="http://schemas.microsoft.com/office/drawing/2014/main" id="{13929267-5D41-4C78-AE1E-B162E81154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60096" y="1411288"/>
            <a:ext cx="2414164" cy="4826047"/>
          </a:xfrm>
          <a:prstGeom prst="rect">
            <a:avLst/>
          </a:prstGeom>
        </p:spPr>
      </p:pic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FC5EB03-C5E0-458E-A02A-D04BFAA7E59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7096540" y="1530375"/>
            <a:ext cx="2117219" cy="4562845"/>
          </a:xfrm>
          <a:custGeom>
            <a:avLst/>
            <a:gdLst>
              <a:gd name="connsiteX0" fmla="*/ 217212 w 2117219"/>
              <a:gd name="connsiteY0" fmla="*/ 0 h 4562845"/>
              <a:gd name="connsiteX1" fmla="*/ 438004 w 2117219"/>
              <a:gd name="connsiteY1" fmla="*/ 0 h 4562845"/>
              <a:gd name="connsiteX2" fmla="*/ 475002 w 2117219"/>
              <a:gd name="connsiteY2" fmla="*/ 36970 h 4562845"/>
              <a:gd name="connsiteX3" fmla="*/ 475002 w 2117219"/>
              <a:gd name="connsiteY3" fmla="*/ 77518 h 4562845"/>
              <a:gd name="connsiteX4" fmla="*/ 577641 w 2117219"/>
              <a:gd name="connsiteY4" fmla="*/ 180081 h 4562845"/>
              <a:gd name="connsiteX5" fmla="*/ 1540772 w 2117219"/>
              <a:gd name="connsiteY5" fmla="*/ 180081 h 4562845"/>
              <a:gd name="connsiteX6" fmla="*/ 1643411 w 2117219"/>
              <a:gd name="connsiteY6" fmla="*/ 77518 h 4562845"/>
              <a:gd name="connsiteX7" fmla="*/ 1643411 w 2117219"/>
              <a:gd name="connsiteY7" fmla="*/ 36970 h 4562845"/>
              <a:gd name="connsiteX8" fmla="*/ 1680408 w 2117219"/>
              <a:gd name="connsiteY8" fmla="*/ 0 h 4562845"/>
              <a:gd name="connsiteX9" fmla="*/ 1900007 w 2117219"/>
              <a:gd name="connsiteY9" fmla="*/ 0 h 4562845"/>
              <a:gd name="connsiteX10" fmla="*/ 2117219 w 2117219"/>
              <a:gd name="connsiteY10" fmla="*/ 217051 h 4562845"/>
              <a:gd name="connsiteX11" fmla="*/ 2117219 w 2117219"/>
              <a:gd name="connsiteY11" fmla="*/ 4345794 h 4562845"/>
              <a:gd name="connsiteX12" fmla="*/ 1900007 w 2117219"/>
              <a:gd name="connsiteY12" fmla="*/ 4562845 h 4562845"/>
              <a:gd name="connsiteX13" fmla="*/ 217212 w 2117219"/>
              <a:gd name="connsiteY13" fmla="*/ 4562845 h 4562845"/>
              <a:gd name="connsiteX14" fmla="*/ 0 w 2117219"/>
              <a:gd name="connsiteY14" fmla="*/ 4345794 h 4562845"/>
              <a:gd name="connsiteX15" fmla="*/ 0 w 2117219"/>
              <a:gd name="connsiteY15" fmla="*/ 217051 h 4562845"/>
              <a:gd name="connsiteX16" fmla="*/ 217212 w 2117219"/>
              <a:gd name="connsiteY16" fmla="*/ 0 h 456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117219" h="4562845">
                <a:moveTo>
                  <a:pt x="217212" y="0"/>
                </a:moveTo>
                <a:cubicBezTo>
                  <a:pt x="438004" y="0"/>
                  <a:pt x="438004" y="0"/>
                  <a:pt x="438004" y="0"/>
                </a:cubicBezTo>
                <a:cubicBezTo>
                  <a:pt x="458293" y="0"/>
                  <a:pt x="475002" y="16696"/>
                  <a:pt x="475002" y="36970"/>
                </a:cubicBezTo>
                <a:cubicBezTo>
                  <a:pt x="475002" y="77518"/>
                  <a:pt x="475002" y="77518"/>
                  <a:pt x="475002" y="77518"/>
                </a:cubicBezTo>
                <a:cubicBezTo>
                  <a:pt x="475002" y="134763"/>
                  <a:pt x="520354" y="180081"/>
                  <a:pt x="577641" y="180081"/>
                </a:cubicBezTo>
                <a:cubicBezTo>
                  <a:pt x="1540772" y="180081"/>
                  <a:pt x="1540772" y="180081"/>
                  <a:pt x="1540772" y="180081"/>
                </a:cubicBezTo>
                <a:cubicBezTo>
                  <a:pt x="1596865" y="180081"/>
                  <a:pt x="1643411" y="134763"/>
                  <a:pt x="1643411" y="77518"/>
                </a:cubicBezTo>
                <a:cubicBezTo>
                  <a:pt x="1643411" y="36970"/>
                  <a:pt x="1643411" y="36970"/>
                  <a:pt x="1643411" y="36970"/>
                </a:cubicBezTo>
                <a:cubicBezTo>
                  <a:pt x="1643411" y="16696"/>
                  <a:pt x="1660119" y="0"/>
                  <a:pt x="1680408" y="0"/>
                </a:cubicBezTo>
                <a:cubicBezTo>
                  <a:pt x="1900007" y="0"/>
                  <a:pt x="1900007" y="0"/>
                  <a:pt x="1900007" y="0"/>
                </a:cubicBezTo>
                <a:cubicBezTo>
                  <a:pt x="2020548" y="0"/>
                  <a:pt x="2117219" y="97792"/>
                  <a:pt x="2117219" y="217051"/>
                </a:cubicBezTo>
                <a:lnTo>
                  <a:pt x="2117219" y="4345794"/>
                </a:lnTo>
                <a:cubicBezTo>
                  <a:pt x="2117219" y="4465053"/>
                  <a:pt x="2020548" y="4562845"/>
                  <a:pt x="1900007" y="4562845"/>
                </a:cubicBezTo>
                <a:cubicBezTo>
                  <a:pt x="217212" y="4562845"/>
                  <a:pt x="217212" y="4562845"/>
                  <a:pt x="217212" y="4562845"/>
                </a:cubicBezTo>
                <a:cubicBezTo>
                  <a:pt x="96671" y="4562845"/>
                  <a:pt x="0" y="4466246"/>
                  <a:pt x="0" y="4345794"/>
                </a:cubicBezTo>
                <a:cubicBezTo>
                  <a:pt x="0" y="217051"/>
                  <a:pt x="0" y="217051"/>
                  <a:pt x="0" y="217051"/>
                </a:cubicBezTo>
                <a:cubicBezTo>
                  <a:pt x="0" y="97792"/>
                  <a:pt x="96671" y="0"/>
                  <a:pt x="217212" y="0"/>
                </a:cubicBezTo>
                <a:close/>
              </a:path>
            </a:pathLst>
          </a:custGeom>
          <a:noFill/>
          <a:effectLst>
            <a:innerShdw blurRad="25400">
              <a:prstClr val="black">
                <a:alpha val="42000"/>
              </a:prstClr>
            </a:innerShdw>
          </a:effectLst>
        </p:spPr>
        <p:txBody>
          <a:bodyPr wrap="square" tIns="0" rIns="0" bIns="432000"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13" name="Freihandform: Form 10">
            <a:extLst>
              <a:ext uri="{FF2B5EF4-FFF2-40B4-BE49-F238E27FC236}">
                <a16:creationId xmlns:a16="http://schemas.microsoft.com/office/drawing/2014/main" id="{1A317722-A0F4-4892-BEF2-A9C4928D5196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349907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4" y="0"/>
            <a:ext cx="4079875" cy="6453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200" b="1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72EE45A-00D9-46AF-9122-E4C64CC51A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07997" y="1391923"/>
            <a:ext cx="6056193" cy="463683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0"/>
            <a:ext cx="7631113" cy="1123950"/>
          </a:xfrm>
        </p:spPr>
        <p:txBody>
          <a:bodyPr rIns="0"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FEFDBA4-F68C-43CE-B00E-51E3E9A015E6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08364F5A-F626-4E0B-B806-2DE9E115A8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97263" y="1581217"/>
            <a:ext cx="5676718" cy="4258905"/>
          </a:xfrm>
          <a:custGeom>
            <a:avLst/>
            <a:gdLst>
              <a:gd name="connsiteX0" fmla="*/ 76466 w 5676718"/>
              <a:gd name="connsiteY0" fmla="*/ 0 h 4258905"/>
              <a:gd name="connsiteX1" fmla="*/ 5600283 w 5676718"/>
              <a:gd name="connsiteY1" fmla="*/ 0 h 4258905"/>
              <a:gd name="connsiteX2" fmla="*/ 5676718 w 5676718"/>
              <a:gd name="connsiteY2" fmla="*/ 76466 h 4258905"/>
              <a:gd name="connsiteX3" fmla="*/ 5676718 w 5676718"/>
              <a:gd name="connsiteY3" fmla="*/ 4182438 h 4258905"/>
              <a:gd name="connsiteX4" fmla="*/ 5600252 w 5676718"/>
              <a:gd name="connsiteY4" fmla="*/ 4258905 h 4258905"/>
              <a:gd name="connsiteX5" fmla="*/ 76466 w 5676718"/>
              <a:gd name="connsiteY5" fmla="*/ 4258905 h 4258905"/>
              <a:gd name="connsiteX6" fmla="*/ 0 w 5676718"/>
              <a:gd name="connsiteY6" fmla="*/ 4182438 h 4258905"/>
              <a:gd name="connsiteX7" fmla="*/ 0 w 5676718"/>
              <a:gd name="connsiteY7" fmla="*/ 76466 h 4258905"/>
              <a:gd name="connsiteX8" fmla="*/ 76466 w 5676718"/>
              <a:gd name="connsiteY8" fmla="*/ 0 h 4258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76718" h="4258905">
                <a:moveTo>
                  <a:pt x="76466" y="0"/>
                </a:moveTo>
                <a:lnTo>
                  <a:pt x="5600283" y="0"/>
                </a:lnTo>
                <a:cubicBezTo>
                  <a:pt x="5642489" y="0"/>
                  <a:pt x="5676718" y="34229"/>
                  <a:pt x="5676718" y="76466"/>
                </a:cubicBezTo>
                <a:lnTo>
                  <a:pt x="5676718" y="4182438"/>
                </a:lnTo>
                <a:cubicBezTo>
                  <a:pt x="5676718" y="4224676"/>
                  <a:pt x="5642489" y="4258905"/>
                  <a:pt x="5600252" y="4258905"/>
                </a:cubicBezTo>
                <a:lnTo>
                  <a:pt x="76466" y="4258905"/>
                </a:lnTo>
                <a:cubicBezTo>
                  <a:pt x="34229" y="4258873"/>
                  <a:pt x="0" y="4224644"/>
                  <a:pt x="0" y="4182438"/>
                </a:cubicBezTo>
                <a:lnTo>
                  <a:pt x="0" y="76466"/>
                </a:lnTo>
                <a:cubicBezTo>
                  <a:pt x="0" y="34229"/>
                  <a:pt x="34229" y="0"/>
                  <a:pt x="76466" y="0"/>
                </a:cubicBezTo>
                <a:close/>
              </a:path>
            </a:pathLst>
          </a:custGeom>
          <a:noFill/>
          <a:effectLst>
            <a:innerShdw blurRad="25400">
              <a:prstClr val="black">
                <a:alpha val="42000"/>
              </a:prstClr>
            </a:innerShdw>
          </a:effectLst>
        </p:spPr>
        <p:txBody>
          <a:bodyPr wrap="square" tIns="720000" rIns="0" bIns="576000"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5981AF10-97DB-40EC-8613-F58EA5D388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3743325" cy="5041901"/>
          </a:xfrm>
        </p:spPr>
        <p:txBody>
          <a:bodyPr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13" name="Freihandform: Form 10">
            <a:extLst>
              <a:ext uri="{FF2B5EF4-FFF2-40B4-BE49-F238E27FC236}">
                <a16:creationId xmlns:a16="http://schemas.microsoft.com/office/drawing/2014/main" id="{712DCE93-E1D7-4836-9156-DC922280988B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087776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95F051-78E1-4BBE-9041-A0D9098035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36550" y="1125538"/>
            <a:ext cx="11520488" cy="3598862"/>
          </a:xfrm>
        </p:spPr>
        <p:txBody>
          <a:bodyPr/>
          <a:lstStyle>
            <a:lvl1pPr marL="0" indent="43200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bg1"/>
              </a:buClr>
              <a:buFont typeface="+mj-lt"/>
              <a:buAutoNum type="arabicPeriod"/>
              <a:defRPr sz="3200" b="1">
                <a:solidFill>
                  <a:schemeClr val="bg1"/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2pPr>
            <a:lvl3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3pPr>
            <a:lvl4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Topic</a:t>
            </a:r>
          </a:p>
          <a:p>
            <a:pPr lvl="1"/>
            <a:r>
              <a:rPr lang="en-GB" noProof="0" dirty="0"/>
              <a:t>Second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EFB2D47-3D81-4721-9D85-C768E73AE3DC}"/>
              </a:ext>
            </a:extLst>
          </p:cNvPr>
          <p:cNvSpPr txBox="1">
            <a:spLocks/>
          </p:cNvSpPr>
          <p:nvPr userDrawn="1"/>
        </p:nvSpPr>
        <p:spPr bwMode="invGray">
          <a:xfrm>
            <a:off x="5703746" y="5474076"/>
            <a:ext cx="784510" cy="211746"/>
          </a:xfrm>
          <a:custGeom>
            <a:avLst/>
            <a:gdLst/>
            <a:ahLst/>
            <a:cxnLst/>
            <a:rect l="l" t="t" r="r" b="b"/>
            <a:pathLst>
              <a:path w="784510" h="211746">
                <a:moveTo>
                  <a:pt x="757833" y="104143"/>
                </a:moveTo>
                <a:cubicBezTo>
                  <a:pt x="750541" y="107120"/>
                  <a:pt x="739602" y="109650"/>
                  <a:pt x="725017" y="111733"/>
                </a:cubicBezTo>
                <a:cubicBezTo>
                  <a:pt x="716757" y="112924"/>
                  <a:pt x="710915" y="114263"/>
                  <a:pt x="707492" y="115752"/>
                </a:cubicBezTo>
                <a:cubicBezTo>
                  <a:pt x="704069" y="117240"/>
                  <a:pt x="701427" y="119416"/>
                  <a:pt x="699567" y="122281"/>
                </a:cubicBezTo>
                <a:cubicBezTo>
                  <a:pt x="697707" y="125146"/>
                  <a:pt x="696776" y="128328"/>
                  <a:pt x="696776" y="131825"/>
                </a:cubicBezTo>
                <a:cubicBezTo>
                  <a:pt x="696776" y="137183"/>
                  <a:pt x="698804" y="141648"/>
                  <a:pt x="702860" y="145220"/>
                </a:cubicBezTo>
                <a:cubicBezTo>
                  <a:pt x="706915" y="148791"/>
                  <a:pt x="712850" y="150577"/>
                  <a:pt x="720663" y="150577"/>
                </a:cubicBezTo>
                <a:cubicBezTo>
                  <a:pt x="728402" y="150577"/>
                  <a:pt x="735286" y="148884"/>
                  <a:pt x="741313" y="145499"/>
                </a:cubicBezTo>
                <a:cubicBezTo>
                  <a:pt x="747341" y="142113"/>
                  <a:pt x="751768" y="137480"/>
                  <a:pt x="754596" y="131602"/>
                </a:cubicBezTo>
                <a:cubicBezTo>
                  <a:pt x="756754" y="127063"/>
                  <a:pt x="757833" y="120365"/>
                  <a:pt x="757833" y="111510"/>
                </a:cubicBezTo>
                <a:close/>
                <a:moveTo>
                  <a:pt x="593564" y="59048"/>
                </a:moveTo>
                <a:cubicBezTo>
                  <a:pt x="584634" y="59048"/>
                  <a:pt x="577174" y="62694"/>
                  <a:pt x="571184" y="69987"/>
                </a:cubicBezTo>
                <a:cubicBezTo>
                  <a:pt x="565194" y="77280"/>
                  <a:pt x="562199" y="88776"/>
                  <a:pt x="562199" y="104478"/>
                </a:cubicBezTo>
                <a:cubicBezTo>
                  <a:pt x="562199" y="119658"/>
                  <a:pt x="565398" y="131006"/>
                  <a:pt x="571798" y="138522"/>
                </a:cubicBezTo>
                <a:cubicBezTo>
                  <a:pt x="578198" y="146038"/>
                  <a:pt x="585751" y="149796"/>
                  <a:pt x="594457" y="149796"/>
                </a:cubicBezTo>
                <a:cubicBezTo>
                  <a:pt x="603238" y="149796"/>
                  <a:pt x="610698" y="146206"/>
                  <a:pt x="616837" y="139025"/>
                </a:cubicBezTo>
                <a:cubicBezTo>
                  <a:pt x="622976" y="131844"/>
                  <a:pt x="626046" y="120886"/>
                  <a:pt x="626046" y="106152"/>
                </a:cubicBezTo>
                <a:cubicBezTo>
                  <a:pt x="626046" y="89930"/>
                  <a:pt x="622920" y="78024"/>
                  <a:pt x="616670" y="70433"/>
                </a:cubicBezTo>
                <a:cubicBezTo>
                  <a:pt x="610419" y="62843"/>
                  <a:pt x="602717" y="59048"/>
                  <a:pt x="593564" y="59048"/>
                </a:cubicBezTo>
                <a:close/>
                <a:moveTo>
                  <a:pt x="203374" y="59048"/>
                </a:moveTo>
                <a:cubicBezTo>
                  <a:pt x="194444" y="59048"/>
                  <a:pt x="186854" y="62676"/>
                  <a:pt x="180603" y="69931"/>
                </a:cubicBezTo>
                <a:cubicBezTo>
                  <a:pt x="174352" y="77186"/>
                  <a:pt x="171227" y="87958"/>
                  <a:pt x="171227" y="102245"/>
                </a:cubicBezTo>
                <a:cubicBezTo>
                  <a:pt x="171227" y="117798"/>
                  <a:pt x="174315" y="129146"/>
                  <a:pt x="180492" y="136290"/>
                </a:cubicBezTo>
                <a:cubicBezTo>
                  <a:pt x="186668" y="143434"/>
                  <a:pt x="194407" y="147005"/>
                  <a:pt x="203709" y="147005"/>
                </a:cubicBezTo>
                <a:cubicBezTo>
                  <a:pt x="212936" y="147005"/>
                  <a:pt x="220675" y="143452"/>
                  <a:pt x="226926" y="136346"/>
                </a:cubicBezTo>
                <a:cubicBezTo>
                  <a:pt x="233177" y="129239"/>
                  <a:pt x="236302" y="118096"/>
                  <a:pt x="236302" y="102915"/>
                </a:cubicBezTo>
                <a:cubicBezTo>
                  <a:pt x="236302" y="88404"/>
                  <a:pt x="233084" y="77466"/>
                  <a:pt x="226647" y="70099"/>
                </a:cubicBezTo>
                <a:cubicBezTo>
                  <a:pt x="220210" y="62732"/>
                  <a:pt x="212452" y="59048"/>
                  <a:pt x="203374" y="59048"/>
                </a:cubicBezTo>
                <a:close/>
                <a:moveTo>
                  <a:pt x="340519" y="58936"/>
                </a:moveTo>
                <a:cubicBezTo>
                  <a:pt x="331292" y="58936"/>
                  <a:pt x="323534" y="62025"/>
                  <a:pt x="317246" y="68201"/>
                </a:cubicBezTo>
                <a:cubicBezTo>
                  <a:pt x="310958" y="74377"/>
                  <a:pt x="307479" y="82637"/>
                  <a:pt x="306809" y="92981"/>
                </a:cubicBezTo>
                <a:lnTo>
                  <a:pt x="373001" y="92981"/>
                </a:lnTo>
                <a:cubicBezTo>
                  <a:pt x="372108" y="83009"/>
                  <a:pt x="369578" y="75531"/>
                  <a:pt x="365411" y="70545"/>
                </a:cubicBezTo>
                <a:cubicBezTo>
                  <a:pt x="359011" y="62806"/>
                  <a:pt x="350714" y="58936"/>
                  <a:pt x="340519" y="58936"/>
                </a:cubicBezTo>
                <a:close/>
                <a:moveTo>
                  <a:pt x="732272" y="42417"/>
                </a:moveTo>
                <a:cubicBezTo>
                  <a:pt x="742392" y="42417"/>
                  <a:pt x="750615" y="43607"/>
                  <a:pt x="756940" y="45988"/>
                </a:cubicBezTo>
                <a:cubicBezTo>
                  <a:pt x="763265" y="48370"/>
                  <a:pt x="767916" y="51365"/>
                  <a:pt x="770893" y="54974"/>
                </a:cubicBezTo>
                <a:cubicBezTo>
                  <a:pt x="773869" y="58583"/>
                  <a:pt x="775953" y="63141"/>
                  <a:pt x="777143" y="68647"/>
                </a:cubicBezTo>
                <a:cubicBezTo>
                  <a:pt x="777813" y="72071"/>
                  <a:pt x="778148" y="78247"/>
                  <a:pt x="778148" y="87177"/>
                </a:cubicBezTo>
                <a:lnTo>
                  <a:pt x="778148" y="113966"/>
                </a:lnTo>
                <a:cubicBezTo>
                  <a:pt x="778148" y="132644"/>
                  <a:pt x="778576" y="144457"/>
                  <a:pt x="779432" y="149405"/>
                </a:cubicBezTo>
                <a:cubicBezTo>
                  <a:pt x="780287" y="154354"/>
                  <a:pt x="781980" y="159098"/>
                  <a:pt x="784510" y="163637"/>
                </a:cubicBezTo>
                <a:lnTo>
                  <a:pt x="763526" y="163637"/>
                </a:lnTo>
                <a:cubicBezTo>
                  <a:pt x="761442" y="159470"/>
                  <a:pt x="760103" y="154596"/>
                  <a:pt x="759507" y="149015"/>
                </a:cubicBezTo>
                <a:cubicBezTo>
                  <a:pt x="752066" y="155340"/>
                  <a:pt x="744904" y="159805"/>
                  <a:pt x="738020" y="162409"/>
                </a:cubicBezTo>
                <a:cubicBezTo>
                  <a:pt x="731137" y="165014"/>
                  <a:pt x="723751" y="166316"/>
                  <a:pt x="715864" y="166316"/>
                </a:cubicBezTo>
                <a:cubicBezTo>
                  <a:pt x="702841" y="166316"/>
                  <a:pt x="692832" y="163135"/>
                  <a:pt x="685838" y="156772"/>
                </a:cubicBezTo>
                <a:cubicBezTo>
                  <a:pt x="678843" y="150410"/>
                  <a:pt x="675345" y="142280"/>
                  <a:pt x="675345" y="132383"/>
                </a:cubicBezTo>
                <a:cubicBezTo>
                  <a:pt x="675345" y="126579"/>
                  <a:pt x="676666" y="121277"/>
                  <a:pt x="679308" y="116477"/>
                </a:cubicBezTo>
                <a:cubicBezTo>
                  <a:pt x="681949" y="111677"/>
                  <a:pt x="685410" y="107826"/>
                  <a:pt x="689688" y="104924"/>
                </a:cubicBezTo>
                <a:cubicBezTo>
                  <a:pt x="693967" y="102022"/>
                  <a:pt x="698786" y="99827"/>
                  <a:pt x="704143" y="98339"/>
                </a:cubicBezTo>
                <a:cubicBezTo>
                  <a:pt x="708087" y="97297"/>
                  <a:pt x="714040" y="96292"/>
                  <a:pt x="722003" y="95325"/>
                </a:cubicBezTo>
                <a:cubicBezTo>
                  <a:pt x="738225" y="93390"/>
                  <a:pt x="750168" y="91083"/>
                  <a:pt x="757833" y="88404"/>
                </a:cubicBezTo>
                <a:cubicBezTo>
                  <a:pt x="757908" y="85651"/>
                  <a:pt x="757945" y="83902"/>
                  <a:pt x="757945" y="83158"/>
                </a:cubicBezTo>
                <a:cubicBezTo>
                  <a:pt x="757945" y="74973"/>
                  <a:pt x="756047" y="69206"/>
                  <a:pt x="752252" y="65857"/>
                </a:cubicBezTo>
                <a:cubicBezTo>
                  <a:pt x="747117" y="61318"/>
                  <a:pt x="739490" y="59048"/>
                  <a:pt x="729370" y="59048"/>
                </a:cubicBezTo>
                <a:cubicBezTo>
                  <a:pt x="719919" y="59048"/>
                  <a:pt x="712943" y="60704"/>
                  <a:pt x="708441" y="64015"/>
                </a:cubicBezTo>
                <a:cubicBezTo>
                  <a:pt x="703939" y="67327"/>
                  <a:pt x="700609" y="73187"/>
                  <a:pt x="698451" y="81596"/>
                </a:cubicBezTo>
                <a:lnTo>
                  <a:pt x="678805" y="78917"/>
                </a:lnTo>
                <a:cubicBezTo>
                  <a:pt x="680591" y="70508"/>
                  <a:pt x="683531" y="63718"/>
                  <a:pt x="687623" y="58546"/>
                </a:cubicBezTo>
                <a:cubicBezTo>
                  <a:pt x="691716" y="53374"/>
                  <a:pt x="697632" y="49393"/>
                  <a:pt x="705371" y="46602"/>
                </a:cubicBezTo>
                <a:cubicBezTo>
                  <a:pt x="713110" y="43812"/>
                  <a:pt x="722077" y="42417"/>
                  <a:pt x="732272" y="42417"/>
                </a:cubicBezTo>
                <a:close/>
                <a:moveTo>
                  <a:pt x="471265" y="42417"/>
                </a:moveTo>
                <a:cubicBezTo>
                  <a:pt x="478408" y="42417"/>
                  <a:pt x="484975" y="43700"/>
                  <a:pt x="490966" y="46267"/>
                </a:cubicBezTo>
                <a:cubicBezTo>
                  <a:pt x="496956" y="48835"/>
                  <a:pt x="501439" y="52202"/>
                  <a:pt x="504416" y="56369"/>
                </a:cubicBezTo>
                <a:cubicBezTo>
                  <a:pt x="507393" y="60536"/>
                  <a:pt x="509476" y="65485"/>
                  <a:pt x="510667" y="71215"/>
                </a:cubicBezTo>
                <a:cubicBezTo>
                  <a:pt x="511411" y="74935"/>
                  <a:pt x="511783" y="81447"/>
                  <a:pt x="511783" y="90748"/>
                </a:cubicBezTo>
                <a:lnTo>
                  <a:pt x="511783" y="163637"/>
                </a:lnTo>
                <a:lnTo>
                  <a:pt x="491691" y="163637"/>
                </a:lnTo>
                <a:lnTo>
                  <a:pt x="491691" y="91530"/>
                </a:lnTo>
                <a:cubicBezTo>
                  <a:pt x="491691" y="83344"/>
                  <a:pt x="490910" y="77224"/>
                  <a:pt x="489347" y="73168"/>
                </a:cubicBezTo>
                <a:cubicBezTo>
                  <a:pt x="487784" y="69113"/>
                  <a:pt x="485013" y="65876"/>
                  <a:pt x="481031" y="63457"/>
                </a:cubicBezTo>
                <a:cubicBezTo>
                  <a:pt x="477050" y="61039"/>
                  <a:pt x="472381" y="59829"/>
                  <a:pt x="467023" y="59829"/>
                </a:cubicBezTo>
                <a:cubicBezTo>
                  <a:pt x="458465" y="59829"/>
                  <a:pt x="451080" y="62546"/>
                  <a:pt x="444866" y="67978"/>
                </a:cubicBezTo>
                <a:cubicBezTo>
                  <a:pt x="438653" y="73410"/>
                  <a:pt x="435546" y="83716"/>
                  <a:pt x="435546" y="98897"/>
                </a:cubicBezTo>
                <a:lnTo>
                  <a:pt x="435546" y="163637"/>
                </a:lnTo>
                <a:lnTo>
                  <a:pt x="415454" y="163637"/>
                </a:lnTo>
                <a:lnTo>
                  <a:pt x="415454" y="45095"/>
                </a:lnTo>
                <a:lnTo>
                  <a:pt x="433537" y="45095"/>
                </a:lnTo>
                <a:lnTo>
                  <a:pt x="433537" y="61950"/>
                </a:lnTo>
                <a:cubicBezTo>
                  <a:pt x="442243" y="48928"/>
                  <a:pt x="454819" y="42417"/>
                  <a:pt x="471265" y="42417"/>
                </a:cubicBezTo>
                <a:close/>
                <a:moveTo>
                  <a:pt x="340296" y="42417"/>
                </a:moveTo>
                <a:cubicBezTo>
                  <a:pt x="356146" y="42417"/>
                  <a:pt x="369094" y="47812"/>
                  <a:pt x="379140" y="58602"/>
                </a:cubicBezTo>
                <a:cubicBezTo>
                  <a:pt x="389186" y="69392"/>
                  <a:pt x="394209" y="84572"/>
                  <a:pt x="394209" y="104143"/>
                </a:cubicBezTo>
                <a:cubicBezTo>
                  <a:pt x="394209" y="105334"/>
                  <a:pt x="394172" y="107120"/>
                  <a:pt x="394097" y="109501"/>
                </a:cubicBezTo>
                <a:lnTo>
                  <a:pt x="305693" y="109501"/>
                </a:lnTo>
                <a:cubicBezTo>
                  <a:pt x="306437" y="122523"/>
                  <a:pt x="310121" y="132495"/>
                  <a:pt x="316744" y="139415"/>
                </a:cubicBezTo>
                <a:cubicBezTo>
                  <a:pt x="323367" y="146336"/>
                  <a:pt x="331627" y="149796"/>
                  <a:pt x="341524" y="149796"/>
                </a:cubicBezTo>
                <a:cubicBezTo>
                  <a:pt x="348891" y="149796"/>
                  <a:pt x="355179" y="147861"/>
                  <a:pt x="360388" y="143992"/>
                </a:cubicBezTo>
                <a:cubicBezTo>
                  <a:pt x="365597" y="140122"/>
                  <a:pt x="369727" y="133946"/>
                  <a:pt x="372778" y="125463"/>
                </a:cubicBezTo>
                <a:lnTo>
                  <a:pt x="393539" y="128030"/>
                </a:lnTo>
                <a:cubicBezTo>
                  <a:pt x="390265" y="140159"/>
                  <a:pt x="384200" y="149573"/>
                  <a:pt x="375345" y="156270"/>
                </a:cubicBezTo>
                <a:cubicBezTo>
                  <a:pt x="366490" y="162967"/>
                  <a:pt x="355179" y="166316"/>
                  <a:pt x="341412" y="166316"/>
                </a:cubicBezTo>
                <a:cubicBezTo>
                  <a:pt x="324074" y="166316"/>
                  <a:pt x="310326" y="160977"/>
                  <a:pt x="300168" y="150298"/>
                </a:cubicBezTo>
                <a:cubicBezTo>
                  <a:pt x="290011" y="139620"/>
                  <a:pt x="284932" y="124644"/>
                  <a:pt x="284932" y="105371"/>
                </a:cubicBezTo>
                <a:cubicBezTo>
                  <a:pt x="284932" y="85428"/>
                  <a:pt x="290066" y="69950"/>
                  <a:pt x="300335" y="58936"/>
                </a:cubicBezTo>
                <a:cubicBezTo>
                  <a:pt x="310605" y="47923"/>
                  <a:pt x="323925" y="42417"/>
                  <a:pt x="340296" y="42417"/>
                </a:cubicBezTo>
                <a:close/>
                <a:moveTo>
                  <a:pt x="201923" y="42417"/>
                </a:moveTo>
                <a:cubicBezTo>
                  <a:pt x="215913" y="42417"/>
                  <a:pt x="227447" y="48072"/>
                  <a:pt x="236525" y="59383"/>
                </a:cubicBezTo>
                <a:lnTo>
                  <a:pt x="236525" y="45095"/>
                </a:lnTo>
                <a:lnTo>
                  <a:pt x="255054" y="45095"/>
                </a:lnTo>
                <a:lnTo>
                  <a:pt x="255054" y="147564"/>
                </a:lnTo>
                <a:cubicBezTo>
                  <a:pt x="255054" y="166018"/>
                  <a:pt x="253176" y="179097"/>
                  <a:pt x="249418" y="186798"/>
                </a:cubicBezTo>
                <a:cubicBezTo>
                  <a:pt x="245660" y="194500"/>
                  <a:pt x="239707" y="200584"/>
                  <a:pt x="231558" y="205048"/>
                </a:cubicBezTo>
                <a:cubicBezTo>
                  <a:pt x="223410" y="209513"/>
                  <a:pt x="213383" y="211746"/>
                  <a:pt x="201476" y="211746"/>
                </a:cubicBezTo>
                <a:cubicBezTo>
                  <a:pt x="187338" y="211746"/>
                  <a:pt x="175915" y="208565"/>
                  <a:pt x="167209" y="202202"/>
                </a:cubicBezTo>
                <a:cubicBezTo>
                  <a:pt x="158502" y="195840"/>
                  <a:pt x="154298" y="186259"/>
                  <a:pt x="154596" y="173460"/>
                </a:cubicBezTo>
                <a:lnTo>
                  <a:pt x="174129" y="176362"/>
                </a:lnTo>
                <a:cubicBezTo>
                  <a:pt x="174948" y="182389"/>
                  <a:pt x="177217" y="186780"/>
                  <a:pt x="180938" y="189533"/>
                </a:cubicBezTo>
                <a:cubicBezTo>
                  <a:pt x="185924" y="193254"/>
                  <a:pt x="192733" y="195114"/>
                  <a:pt x="201365" y="195114"/>
                </a:cubicBezTo>
                <a:cubicBezTo>
                  <a:pt x="210667" y="195114"/>
                  <a:pt x="217847" y="193254"/>
                  <a:pt x="222908" y="189533"/>
                </a:cubicBezTo>
                <a:cubicBezTo>
                  <a:pt x="227968" y="185812"/>
                  <a:pt x="231391" y="180603"/>
                  <a:pt x="233177" y="173906"/>
                </a:cubicBezTo>
                <a:cubicBezTo>
                  <a:pt x="234219" y="169813"/>
                  <a:pt x="234702" y="161219"/>
                  <a:pt x="234628" y="148122"/>
                </a:cubicBezTo>
                <a:cubicBezTo>
                  <a:pt x="225847" y="158465"/>
                  <a:pt x="214908" y="163637"/>
                  <a:pt x="201811" y="163637"/>
                </a:cubicBezTo>
                <a:cubicBezTo>
                  <a:pt x="185515" y="163637"/>
                  <a:pt x="172901" y="157758"/>
                  <a:pt x="163972" y="146001"/>
                </a:cubicBezTo>
                <a:cubicBezTo>
                  <a:pt x="155042" y="134243"/>
                  <a:pt x="150577" y="120142"/>
                  <a:pt x="150577" y="103696"/>
                </a:cubicBezTo>
                <a:cubicBezTo>
                  <a:pt x="150577" y="92386"/>
                  <a:pt x="152624" y="81949"/>
                  <a:pt x="156716" y="72387"/>
                </a:cubicBezTo>
                <a:cubicBezTo>
                  <a:pt x="160809" y="62825"/>
                  <a:pt x="166744" y="55439"/>
                  <a:pt x="174520" y="50230"/>
                </a:cubicBezTo>
                <a:cubicBezTo>
                  <a:pt x="182296" y="45021"/>
                  <a:pt x="191430" y="42417"/>
                  <a:pt x="201923" y="42417"/>
                </a:cubicBezTo>
                <a:close/>
                <a:moveTo>
                  <a:pt x="74005" y="17190"/>
                </a:moveTo>
                <a:cubicBezTo>
                  <a:pt x="71921" y="27683"/>
                  <a:pt x="68982" y="38100"/>
                  <a:pt x="65187" y="48444"/>
                </a:cubicBezTo>
                <a:lnTo>
                  <a:pt x="47216" y="96441"/>
                </a:lnTo>
                <a:lnTo>
                  <a:pt x="102692" y="96441"/>
                </a:lnTo>
                <a:lnTo>
                  <a:pt x="85614" y="51123"/>
                </a:lnTo>
                <a:cubicBezTo>
                  <a:pt x="80405" y="37356"/>
                  <a:pt x="76535" y="26045"/>
                  <a:pt x="74005" y="17190"/>
                </a:cubicBezTo>
                <a:close/>
                <a:moveTo>
                  <a:pt x="624371" y="0"/>
                </a:moveTo>
                <a:lnTo>
                  <a:pt x="644352" y="0"/>
                </a:lnTo>
                <a:lnTo>
                  <a:pt x="644352" y="163637"/>
                </a:lnTo>
                <a:lnTo>
                  <a:pt x="625711" y="163637"/>
                </a:lnTo>
                <a:lnTo>
                  <a:pt x="625711" y="148680"/>
                </a:lnTo>
                <a:cubicBezTo>
                  <a:pt x="618195" y="160437"/>
                  <a:pt x="607145" y="166316"/>
                  <a:pt x="592559" y="166316"/>
                </a:cubicBezTo>
                <a:cubicBezTo>
                  <a:pt x="583109" y="166316"/>
                  <a:pt x="574421" y="163711"/>
                  <a:pt x="566496" y="158502"/>
                </a:cubicBezTo>
                <a:cubicBezTo>
                  <a:pt x="558571" y="153293"/>
                  <a:pt x="552432" y="146019"/>
                  <a:pt x="548078" y="136681"/>
                </a:cubicBezTo>
                <a:cubicBezTo>
                  <a:pt x="543725" y="127342"/>
                  <a:pt x="541549" y="116607"/>
                  <a:pt x="541549" y="104478"/>
                </a:cubicBezTo>
                <a:cubicBezTo>
                  <a:pt x="541549" y="92646"/>
                  <a:pt x="543521" y="81912"/>
                  <a:pt x="547465" y="72275"/>
                </a:cubicBezTo>
                <a:cubicBezTo>
                  <a:pt x="551409" y="62639"/>
                  <a:pt x="557324" y="55253"/>
                  <a:pt x="565212" y="50118"/>
                </a:cubicBezTo>
                <a:cubicBezTo>
                  <a:pt x="573100" y="44984"/>
                  <a:pt x="581918" y="42417"/>
                  <a:pt x="591667" y="42417"/>
                </a:cubicBezTo>
                <a:cubicBezTo>
                  <a:pt x="598810" y="42417"/>
                  <a:pt x="605173" y="43923"/>
                  <a:pt x="610754" y="46937"/>
                </a:cubicBezTo>
                <a:cubicBezTo>
                  <a:pt x="616335" y="49951"/>
                  <a:pt x="620874" y="53876"/>
                  <a:pt x="624371" y="58713"/>
                </a:cubicBezTo>
                <a:close/>
                <a:moveTo>
                  <a:pt x="62843" y="0"/>
                </a:moveTo>
                <a:lnTo>
                  <a:pt x="86172" y="0"/>
                </a:lnTo>
                <a:lnTo>
                  <a:pt x="153144" y="163637"/>
                </a:lnTo>
                <a:lnTo>
                  <a:pt x="128476" y="163637"/>
                </a:lnTo>
                <a:lnTo>
                  <a:pt x="109389" y="114077"/>
                </a:lnTo>
                <a:lnTo>
                  <a:pt x="40965" y="114077"/>
                </a:lnTo>
                <a:lnTo>
                  <a:pt x="22994" y="163637"/>
                </a:lnTo>
                <a:lnTo>
                  <a:pt x="0" y="1636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18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noProof="0"/>
          </a:p>
        </p:txBody>
      </p:sp>
      <p:sp>
        <p:nvSpPr>
          <p:cNvPr id="11" name="Google Shape;192;p37">
            <a:extLst>
              <a:ext uri="{FF2B5EF4-FFF2-40B4-BE49-F238E27FC236}">
                <a16:creationId xmlns:a16="http://schemas.microsoft.com/office/drawing/2014/main" id="{1DE45504-11DD-4AE5-9D58-228ADD011102}"/>
              </a:ext>
            </a:extLst>
          </p:cNvPr>
          <p:cNvSpPr/>
          <p:nvPr userDrawn="1"/>
        </p:nvSpPr>
        <p:spPr bwMode="inv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69C199-7777-4DD5-A74D-6B4B6B0D6A5A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9DC859-0689-47A8-A5A2-AFE567ED6DC5}" type="datetime1">
              <a:rPr lang="en-GB" noProof="0" smtClean="0"/>
              <a:t>26/05/2023</a:t>
            </a:fld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115067-4170-4AE6-BF5C-69E8138CF8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0BE1DB-AC6B-4E05-B638-3A67ABEEEE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762090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808FDAE0-CFCF-4E75-AE61-2D84BDF3CF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19050" cap="rnd">
            <a:noFill/>
          </a:ln>
          <a:effectLst>
            <a:glow rad="254000">
              <a:srgbClr val="008A4F">
                <a:alpha val="2000"/>
              </a:srgb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44000" rIns="144000" bIns="144000" rtlCol="0" anchor="ctr">
            <a:noAutofit/>
          </a:bodyPr>
          <a:lstStyle/>
          <a:p>
            <a:pPr algn="ctr"/>
            <a:endParaRPr lang="en-GB" sz="1600" b="1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Medienplatzhalter 8">
            <a:extLst>
              <a:ext uri="{FF2B5EF4-FFF2-40B4-BE49-F238E27FC236}">
                <a16:creationId xmlns:a16="http://schemas.microsoft.com/office/drawing/2014/main" id="{CD6050FB-DE36-4D86-9C1A-B8C6991159EE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tIns="828000" anchor="ctr"/>
          <a:lstStyle>
            <a:lvl1pPr marL="0" indent="0" algn="ctr">
              <a:buNone/>
              <a:defRPr sz="800" i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a video by clicking on the icon. </a:t>
            </a:r>
          </a:p>
        </p:txBody>
      </p:sp>
      <p:sp>
        <p:nvSpPr>
          <p:cNvPr id="11" name="Datumsplatzhalter 1">
            <a:extLst>
              <a:ext uri="{FF2B5EF4-FFF2-40B4-BE49-F238E27FC236}">
                <a16:creationId xmlns:a16="http://schemas.microsoft.com/office/drawing/2014/main" id="{D7DF414D-C647-45DC-A53D-3BE08C147EF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336550" y="6993396"/>
            <a:ext cx="863450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8548B0DC-A936-4E57-B715-5B4BC2EF8498}" type="datetime1">
              <a:rPr lang="en-GB" noProof="0" smtClean="0"/>
              <a:t>26/05/2023</a:t>
            </a:fld>
            <a:endParaRPr lang="en-GB" noProof="0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73732EA5-6572-401E-8E57-0EE06FB9E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3792538" y="6993396"/>
            <a:ext cx="4606924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GB" noProof="0"/>
              <a:t>Commerzbank AG, Max Mustermann, GM-C Brand Management 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5564EBD7-E421-420C-80ED-5FB9B4241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280774" y="6993396"/>
            <a:ext cx="574675" cy="144016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577986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A1D18045-8E68-46CA-83F0-1F20C5F8A4B4}"/>
              </a:ext>
            </a:extLst>
          </p:cNvPr>
          <p:cNvSpPr/>
          <p:nvPr userDrawn="1"/>
        </p:nvSpPr>
        <p:spPr bwMode="white">
          <a:xfrm>
            <a:off x="8112125" y="0"/>
            <a:ext cx="4079874" cy="64531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200" b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31D01A-40CA-4B56-9A6A-2CCA561424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0"/>
            <a:ext cx="7631114" cy="1123950"/>
          </a:xfrm>
        </p:spPr>
        <p:txBody>
          <a:bodyPr rIns="0"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3B4A5E-48C8-4076-ADCC-30B7DD183B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C2AB8F4-04BC-4718-BAD7-CC73A30BBF02}" type="datetime1">
              <a:rPr lang="en-GB" smtClean="0"/>
              <a:t>26/05/2023</a:t>
            </a:fld>
            <a:endParaRPr lang="en-GB" sz="8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F68D4-336C-44F9-8F3C-3F833A3C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B524BB-DBA7-4204-85C4-747F2C0EB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smtClean="0"/>
              <a:pPr/>
              <a:t>‹#›</a:t>
            </a:fld>
            <a:endParaRPr lang="en-GB" b="0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095A8B34-4A01-456A-B199-E260D41644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3743326" cy="5041901"/>
          </a:xfrm>
        </p:spPr>
        <p:txBody>
          <a:bodyPr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pic>
        <p:nvPicPr>
          <p:cNvPr id="15" name="Grafik 14" descr="Ein Bild, das Text, Anzeige, Nachthimmel enthält.&#10;&#10;Automatisch generierte Beschreibung">
            <a:extLst>
              <a:ext uri="{FF2B5EF4-FFF2-40B4-BE49-F238E27FC236}">
                <a16:creationId xmlns:a16="http://schemas.microsoft.com/office/drawing/2014/main" id="{8AD75974-F525-4A18-8953-F7E9CD345E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66725" y="1410971"/>
            <a:ext cx="7686480" cy="4385024"/>
          </a:xfrm>
          <a:prstGeom prst="rect">
            <a:avLst/>
          </a:prstGeom>
        </p:spPr>
      </p:pic>
      <p:sp>
        <p:nvSpPr>
          <p:cNvPr id="17" name="Medienplatzhalter 16">
            <a:extLst>
              <a:ext uri="{FF2B5EF4-FFF2-40B4-BE49-F238E27FC236}">
                <a16:creationId xmlns:a16="http://schemas.microsoft.com/office/drawing/2014/main" id="{D12B9425-A179-416D-B974-E93DC1E04346}"/>
              </a:ext>
            </a:extLst>
          </p:cNvPr>
          <p:cNvSpPr>
            <a:spLocks noGrp="1" noChangeAspect="1"/>
          </p:cNvSpPr>
          <p:nvPr>
            <p:ph type="media" sz="quarter" idx="18" hasCustomPrompt="1"/>
          </p:nvPr>
        </p:nvSpPr>
        <p:spPr bwMode="gray">
          <a:xfrm>
            <a:off x="5004793" y="1644285"/>
            <a:ext cx="6010349" cy="3735436"/>
          </a:xfrm>
          <a:custGeom>
            <a:avLst/>
            <a:gdLst>
              <a:gd name="connsiteX0" fmla="*/ 0 w 6010349"/>
              <a:gd name="connsiteY0" fmla="*/ 0 h 3735436"/>
              <a:gd name="connsiteX1" fmla="*/ 6010349 w 6010349"/>
              <a:gd name="connsiteY1" fmla="*/ 0 h 3735436"/>
              <a:gd name="connsiteX2" fmla="*/ 6010349 w 6010349"/>
              <a:gd name="connsiteY2" fmla="*/ 3735436 h 3735436"/>
              <a:gd name="connsiteX3" fmla="*/ 0 w 6010349"/>
              <a:gd name="connsiteY3" fmla="*/ 3735436 h 3735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0349" h="3735436">
                <a:moveTo>
                  <a:pt x="0" y="0"/>
                </a:moveTo>
                <a:lnTo>
                  <a:pt x="6010349" y="0"/>
                </a:lnTo>
                <a:lnTo>
                  <a:pt x="6010349" y="3735436"/>
                </a:lnTo>
                <a:lnTo>
                  <a:pt x="0" y="373543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828000" anchor="ctr">
            <a:noAutofit/>
          </a:bodyPr>
          <a:lstStyle>
            <a:lvl1pPr marL="0" indent="0" algn="ctr">
              <a:buNone/>
              <a:defRPr sz="800" i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a video by clicking on the icon. 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7BA35142-8DB2-4C8E-945D-08A8F39BB6FF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585647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with Full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3D84946B-E163-4ADA-8A99-DC1319431949}"/>
              </a:ext>
            </a:extLst>
          </p:cNvPr>
          <p:cNvSpPr/>
          <p:nvPr userDrawn="1"/>
        </p:nvSpPr>
        <p:spPr bwMode="gray">
          <a:xfrm>
            <a:off x="0" y="0"/>
            <a:ext cx="12192000" cy="64531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200" b="1">
              <a:solidFill>
                <a:schemeClr val="bg1"/>
              </a:solidFill>
            </a:endParaRP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CEC443DD-2BF6-4B18-84D7-A28FE56FF2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453188"/>
          </a:xfrm>
          <a:noFill/>
        </p:spPr>
        <p:txBody>
          <a:bodyPr lIns="0" tIns="0" rIns="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Make sure that the logo is in the foreground and choose petrol as the logo </a:t>
            </a:r>
            <a:r>
              <a:rPr lang="en-GB" noProof="0" dirty="0" err="1"/>
              <a:t>colour</a:t>
            </a:r>
            <a:r>
              <a:rPr lang="en-GB" noProof="0" dirty="0"/>
              <a:t> for light images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2F830EA-47C1-4965-BD05-B1B8E92212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22437" y="1412876"/>
            <a:ext cx="7218363" cy="331152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bg1"/>
                </a:solidFill>
              </a:defRPr>
            </a:lvl2pPr>
            <a:lvl3pPr marL="180000" indent="-180000"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Insert highlight </a:t>
            </a:r>
            <a:r>
              <a:rPr lang="en-GB" noProof="0" dirty="0" err="1"/>
              <a:t>text</a:t>
            </a:r>
            <a:endParaRPr lang="en-GB" noProof="0" dirty="0"/>
          </a:p>
          <a:p>
            <a:pPr lvl="1"/>
            <a:r>
              <a:rPr lang="en-GB" noProof="0" dirty="0"/>
              <a:t>Second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2"/>
            <a:r>
              <a:rPr lang="en-GB" noProof="0" dirty="0"/>
              <a:t>Third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3"/>
            <a:r>
              <a:rPr lang="en-GB" noProof="0" dirty="0" err="1"/>
              <a:t>Fourth</a:t>
            </a:r>
            <a:r>
              <a:rPr lang="en-GB" noProof="0" dirty="0"/>
              <a:t>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CF53ED3-38A7-4F5B-8F74-CF94F11AE3B5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EF18A464-1BB7-4811-9FB8-9DB2CC3CC7C9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DB4A587-2B48-47E5-8FC8-FCC736BF5F6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9E580F-6707-42B3-AB53-A8B38B0BBB5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CF59287-810C-47D8-BAD6-E90E56A6D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722436" y="836613"/>
            <a:ext cx="5094289" cy="574675"/>
          </a:xfrm>
        </p:spPr>
        <p:txBody>
          <a:bodyPr tIns="144000" rIns="0"/>
          <a:lstStyle>
            <a:lvl1pPr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er </a:t>
            </a:r>
            <a:r>
              <a:rPr lang="en-GB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25876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D42205D3-11EC-0D61-DBEB-B4973330A4F8}"/>
              </a:ext>
            </a:extLst>
          </p:cNvPr>
          <p:cNvSpPr/>
          <p:nvPr userDrawn="1"/>
        </p:nvSpPr>
        <p:spPr bwMode="gray">
          <a:xfrm>
            <a:off x="11500842" y="239316"/>
            <a:ext cx="467915" cy="401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de-CH" sz="1200" b="1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34628A-9FDF-4CC5-8075-404915653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850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F34628A-9FDF-4CC5-8075-404915653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DB4EBAE-7EE0-4A7F-BCB2-9B2864E73D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112124" y="0"/>
            <a:ext cx="4079875" cy="6453188"/>
          </a:xfrm>
          <a:ln>
            <a:solidFill>
              <a:schemeClr val="tx2"/>
            </a:solidFill>
          </a:ln>
        </p:spPr>
        <p:txBody>
          <a:bodyPr lIns="468000" tIns="0" rIns="468000" bIns="576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</a:t>
            </a:r>
            <a:br>
              <a:rPr lang="en-GB" noProof="0" dirty="0"/>
            </a:br>
            <a:r>
              <a:rPr lang="en-GB" noProof="0" dirty="0"/>
              <a:t>select the placeholder and click paste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Make sure that the logo is in the foreground and choose petrol </a:t>
            </a:r>
            <a:br>
              <a:rPr lang="en-GB" noProof="0" dirty="0"/>
            </a:br>
            <a:r>
              <a:rPr lang="en-GB" noProof="0" dirty="0"/>
              <a:t>as the logo colour for light images.</a:t>
            </a:r>
          </a:p>
        </p:txBody>
      </p:sp>
      <p:sp>
        <p:nvSpPr>
          <p:cNvPr id="12" name="SmartArt-Platzhalter 11">
            <a:extLst>
              <a:ext uri="{FF2B5EF4-FFF2-40B4-BE49-F238E27FC236}">
                <a16:creationId xmlns:a16="http://schemas.microsoft.com/office/drawing/2014/main" id="{90E25250-96E1-4A78-9EE6-8AD9112BF777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 bwMode="gray">
          <a:xfrm>
            <a:off x="11522271" y="260351"/>
            <a:ext cx="332854" cy="288924"/>
          </a:xfrm>
          <a:custGeom>
            <a:avLst/>
            <a:gdLst>
              <a:gd name="connsiteX0" fmla="*/ 26189 w 332854"/>
              <a:gd name="connsiteY0" fmla="*/ 199375 h 288924"/>
              <a:gd name="connsiteX1" fmla="*/ 38755 w 332854"/>
              <a:gd name="connsiteY1" fmla="*/ 203399 h 288924"/>
              <a:gd name="connsiteX2" fmla="*/ 60872 w 332854"/>
              <a:gd name="connsiteY2" fmla="*/ 208430 h 288924"/>
              <a:gd name="connsiteX3" fmla="*/ 89523 w 332854"/>
              <a:gd name="connsiteY3" fmla="*/ 210442 h 288924"/>
              <a:gd name="connsiteX4" fmla="*/ 166428 w 332854"/>
              <a:gd name="connsiteY4" fmla="*/ 210442 h 288924"/>
              <a:gd name="connsiteX5" fmla="*/ 243335 w 332854"/>
              <a:gd name="connsiteY5" fmla="*/ 210442 h 288924"/>
              <a:gd name="connsiteX6" fmla="*/ 255398 w 332854"/>
              <a:gd name="connsiteY6" fmla="*/ 210442 h 288924"/>
              <a:gd name="connsiteX7" fmla="*/ 260927 w 332854"/>
              <a:gd name="connsiteY7" fmla="*/ 226542 h 288924"/>
              <a:gd name="connsiteX8" fmla="*/ 265953 w 332854"/>
              <a:gd name="connsiteY8" fmla="*/ 260752 h 288924"/>
              <a:gd name="connsiteX9" fmla="*/ 258916 w 332854"/>
              <a:gd name="connsiteY9" fmla="*/ 282384 h 288924"/>
              <a:gd name="connsiteX10" fmla="*/ 254895 w 332854"/>
              <a:gd name="connsiteY10" fmla="*/ 288924 h 288924"/>
              <a:gd name="connsiteX11" fmla="*/ 253513 w 332854"/>
              <a:gd name="connsiteY11" fmla="*/ 288924 h 288924"/>
              <a:gd name="connsiteX12" fmla="*/ 243837 w 332854"/>
              <a:gd name="connsiteY12" fmla="*/ 288924 h 288924"/>
              <a:gd name="connsiteX13" fmla="*/ 217573 w 332854"/>
              <a:gd name="connsiteY13" fmla="*/ 288924 h 288924"/>
              <a:gd name="connsiteX14" fmla="*/ 166428 w 332854"/>
              <a:gd name="connsiteY14" fmla="*/ 288924 h 288924"/>
              <a:gd name="connsiteX15" fmla="*/ 165046 w 332854"/>
              <a:gd name="connsiteY15" fmla="*/ 288924 h 288924"/>
              <a:gd name="connsiteX16" fmla="*/ 155370 w 332854"/>
              <a:gd name="connsiteY16" fmla="*/ 288924 h 288924"/>
              <a:gd name="connsiteX17" fmla="*/ 129106 w 332854"/>
              <a:gd name="connsiteY17" fmla="*/ 288924 h 288924"/>
              <a:gd name="connsiteX18" fmla="*/ 77962 w 332854"/>
              <a:gd name="connsiteY18" fmla="*/ 288924 h 288924"/>
              <a:gd name="connsiteX19" fmla="*/ 26189 w 332854"/>
              <a:gd name="connsiteY19" fmla="*/ 199375 h 288924"/>
              <a:gd name="connsiteX20" fmla="*/ 236869 w 332854"/>
              <a:gd name="connsiteY20" fmla="*/ 0 h 288924"/>
              <a:gd name="connsiteX21" fmla="*/ 237811 w 332854"/>
              <a:gd name="connsiteY21" fmla="*/ 0 h 288924"/>
              <a:gd name="connsiteX22" fmla="*/ 244408 w 332854"/>
              <a:gd name="connsiteY22" fmla="*/ 0 h 288924"/>
              <a:gd name="connsiteX23" fmla="*/ 332854 w 332854"/>
              <a:gd name="connsiteY23" fmla="*/ 153506 h 288924"/>
              <a:gd name="connsiteX24" fmla="*/ 281595 w 332854"/>
              <a:gd name="connsiteY24" fmla="*/ 243093 h 288924"/>
              <a:gd name="connsiteX25" fmla="*/ 279082 w 332854"/>
              <a:gd name="connsiteY25" fmla="*/ 230008 h 288924"/>
              <a:gd name="connsiteX26" fmla="*/ 272047 w 332854"/>
              <a:gd name="connsiteY26" fmla="*/ 208366 h 288924"/>
              <a:gd name="connsiteX27" fmla="*/ 259483 w 332854"/>
              <a:gd name="connsiteY27" fmla="*/ 182194 h 288924"/>
              <a:gd name="connsiteX28" fmla="*/ 221290 w 332854"/>
              <a:gd name="connsiteY28" fmla="*/ 115759 h 288924"/>
              <a:gd name="connsiteX29" fmla="*/ 182595 w 332854"/>
              <a:gd name="connsiteY29" fmla="*/ 49323 h 288924"/>
              <a:gd name="connsiteX30" fmla="*/ 176565 w 332854"/>
              <a:gd name="connsiteY30" fmla="*/ 38754 h 288924"/>
              <a:gd name="connsiteX31" fmla="*/ 187620 w 332854"/>
              <a:gd name="connsiteY31" fmla="*/ 25668 h 288924"/>
              <a:gd name="connsiteX32" fmla="*/ 214758 w 332854"/>
              <a:gd name="connsiteY32" fmla="*/ 4530 h 288924"/>
              <a:gd name="connsiteX33" fmla="*/ 236869 w 332854"/>
              <a:gd name="connsiteY33" fmla="*/ 0 h 288924"/>
              <a:gd name="connsiteX34" fmla="*/ 88490 w 332854"/>
              <a:gd name="connsiteY34" fmla="*/ 0 h 288924"/>
              <a:gd name="connsiteX35" fmla="*/ 90100 w 332854"/>
              <a:gd name="connsiteY35" fmla="*/ 0 h 288924"/>
              <a:gd name="connsiteX36" fmla="*/ 101374 w 332854"/>
              <a:gd name="connsiteY36" fmla="*/ 0 h 288924"/>
              <a:gd name="connsiteX37" fmla="*/ 131973 w 332854"/>
              <a:gd name="connsiteY37" fmla="*/ 0 h 288924"/>
              <a:gd name="connsiteX38" fmla="*/ 157539 w 332854"/>
              <a:gd name="connsiteY38" fmla="*/ 0 h 288924"/>
              <a:gd name="connsiteX39" fmla="*/ 191560 w 332854"/>
              <a:gd name="connsiteY39" fmla="*/ 0 h 288924"/>
              <a:gd name="connsiteX40" fmla="*/ 181504 w 332854"/>
              <a:gd name="connsiteY40" fmla="*/ 9059 h 288924"/>
              <a:gd name="connsiteX41" fmla="*/ 166421 w 332854"/>
              <a:gd name="connsiteY41" fmla="*/ 25666 h 288924"/>
              <a:gd name="connsiteX42" fmla="*/ 150332 w 332854"/>
              <a:gd name="connsiteY42" fmla="*/ 49319 h 288924"/>
              <a:gd name="connsiteX43" fmla="*/ 111617 w 332854"/>
              <a:gd name="connsiteY43" fmla="*/ 115748 h 288924"/>
              <a:gd name="connsiteX44" fmla="*/ 72903 w 332854"/>
              <a:gd name="connsiteY44" fmla="*/ 182178 h 288924"/>
              <a:gd name="connsiteX45" fmla="*/ 67373 w 332854"/>
              <a:gd name="connsiteY45" fmla="*/ 193250 h 288924"/>
              <a:gd name="connsiteX46" fmla="*/ 50278 w 332854"/>
              <a:gd name="connsiteY46" fmla="*/ 189727 h 288924"/>
              <a:gd name="connsiteX47" fmla="*/ 18603 w 332854"/>
              <a:gd name="connsiteY47" fmla="*/ 176643 h 288924"/>
              <a:gd name="connsiteX48" fmla="*/ 3520 w 332854"/>
              <a:gd name="connsiteY48" fmla="*/ 160035 h 288924"/>
              <a:gd name="connsiteX49" fmla="*/ 0 w 332854"/>
              <a:gd name="connsiteY49" fmla="*/ 153493 h 288924"/>
              <a:gd name="connsiteX50" fmla="*/ 2514 w 332854"/>
              <a:gd name="connsiteY50" fmla="*/ 148963 h 288924"/>
              <a:gd name="connsiteX51" fmla="*/ 88490 w 332854"/>
              <a:gd name="connsiteY51" fmla="*/ 0 h 2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2854" h="288924">
                <a:moveTo>
                  <a:pt x="26189" y="199375"/>
                </a:moveTo>
                <a:cubicBezTo>
                  <a:pt x="29708" y="200884"/>
                  <a:pt x="34232" y="202394"/>
                  <a:pt x="38755" y="203399"/>
                </a:cubicBezTo>
                <a:cubicBezTo>
                  <a:pt x="44787" y="204909"/>
                  <a:pt x="57354" y="207927"/>
                  <a:pt x="60872" y="208430"/>
                </a:cubicBezTo>
                <a:cubicBezTo>
                  <a:pt x="72433" y="210442"/>
                  <a:pt x="82989" y="210442"/>
                  <a:pt x="89523" y="210442"/>
                </a:cubicBezTo>
                <a:cubicBezTo>
                  <a:pt x="89523" y="210442"/>
                  <a:pt x="89523" y="210442"/>
                  <a:pt x="166428" y="210442"/>
                </a:cubicBezTo>
                <a:cubicBezTo>
                  <a:pt x="166428" y="210442"/>
                  <a:pt x="166428" y="210442"/>
                  <a:pt x="243335" y="210442"/>
                </a:cubicBezTo>
                <a:cubicBezTo>
                  <a:pt x="246350" y="210442"/>
                  <a:pt x="250371" y="210442"/>
                  <a:pt x="255398" y="210442"/>
                </a:cubicBezTo>
                <a:cubicBezTo>
                  <a:pt x="257408" y="216480"/>
                  <a:pt x="260927" y="226038"/>
                  <a:pt x="260927" y="226542"/>
                </a:cubicBezTo>
                <a:cubicBezTo>
                  <a:pt x="265451" y="238616"/>
                  <a:pt x="266959" y="250186"/>
                  <a:pt x="265953" y="260752"/>
                </a:cubicBezTo>
                <a:cubicBezTo>
                  <a:pt x="264446" y="270814"/>
                  <a:pt x="260927" y="277857"/>
                  <a:pt x="258916" y="282384"/>
                </a:cubicBezTo>
                <a:lnTo>
                  <a:pt x="254895" y="288924"/>
                </a:lnTo>
                <a:lnTo>
                  <a:pt x="253513" y="288924"/>
                </a:lnTo>
                <a:lnTo>
                  <a:pt x="243837" y="288924"/>
                </a:lnTo>
                <a:lnTo>
                  <a:pt x="217573" y="288924"/>
                </a:lnTo>
                <a:lnTo>
                  <a:pt x="166428" y="288924"/>
                </a:lnTo>
                <a:lnTo>
                  <a:pt x="165046" y="288924"/>
                </a:lnTo>
                <a:lnTo>
                  <a:pt x="155370" y="288924"/>
                </a:lnTo>
                <a:lnTo>
                  <a:pt x="129106" y="288924"/>
                </a:lnTo>
                <a:lnTo>
                  <a:pt x="77962" y="288924"/>
                </a:lnTo>
                <a:cubicBezTo>
                  <a:pt x="77962" y="288924"/>
                  <a:pt x="77962" y="288924"/>
                  <a:pt x="26189" y="199375"/>
                </a:cubicBezTo>
                <a:close/>
                <a:moveTo>
                  <a:pt x="236869" y="0"/>
                </a:moveTo>
                <a:lnTo>
                  <a:pt x="237811" y="0"/>
                </a:lnTo>
                <a:lnTo>
                  <a:pt x="244408" y="0"/>
                </a:lnTo>
                <a:cubicBezTo>
                  <a:pt x="244408" y="0"/>
                  <a:pt x="244408" y="0"/>
                  <a:pt x="332854" y="153506"/>
                </a:cubicBezTo>
                <a:cubicBezTo>
                  <a:pt x="332854" y="153506"/>
                  <a:pt x="332854" y="153506"/>
                  <a:pt x="281595" y="243093"/>
                </a:cubicBezTo>
                <a:cubicBezTo>
                  <a:pt x="280590" y="239066"/>
                  <a:pt x="280088" y="234536"/>
                  <a:pt x="279082" y="230008"/>
                </a:cubicBezTo>
                <a:cubicBezTo>
                  <a:pt x="277072" y="223968"/>
                  <a:pt x="273053" y="211385"/>
                  <a:pt x="272047" y="208366"/>
                </a:cubicBezTo>
                <a:cubicBezTo>
                  <a:pt x="268026" y="197293"/>
                  <a:pt x="262499" y="188234"/>
                  <a:pt x="259483" y="182194"/>
                </a:cubicBezTo>
                <a:cubicBezTo>
                  <a:pt x="246418" y="159546"/>
                  <a:pt x="221290" y="115759"/>
                  <a:pt x="221290" y="115759"/>
                </a:cubicBezTo>
                <a:cubicBezTo>
                  <a:pt x="221290" y="115759"/>
                  <a:pt x="195661" y="71972"/>
                  <a:pt x="182595" y="49323"/>
                </a:cubicBezTo>
                <a:cubicBezTo>
                  <a:pt x="181088" y="46304"/>
                  <a:pt x="179078" y="42780"/>
                  <a:pt x="176565" y="38754"/>
                </a:cubicBezTo>
                <a:cubicBezTo>
                  <a:pt x="180585" y="33722"/>
                  <a:pt x="187118" y="26675"/>
                  <a:pt x="187620" y="25668"/>
                </a:cubicBezTo>
                <a:cubicBezTo>
                  <a:pt x="195661" y="16105"/>
                  <a:pt x="205209" y="9060"/>
                  <a:pt x="214758" y="4530"/>
                </a:cubicBezTo>
                <a:cubicBezTo>
                  <a:pt x="223804" y="1007"/>
                  <a:pt x="231844" y="0"/>
                  <a:pt x="236869" y="0"/>
                </a:cubicBezTo>
                <a:close/>
                <a:moveTo>
                  <a:pt x="88490" y="0"/>
                </a:moveTo>
                <a:lnTo>
                  <a:pt x="90100" y="0"/>
                </a:lnTo>
                <a:lnTo>
                  <a:pt x="101374" y="0"/>
                </a:lnTo>
                <a:lnTo>
                  <a:pt x="131973" y="0"/>
                </a:lnTo>
                <a:lnTo>
                  <a:pt x="157539" y="0"/>
                </a:lnTo>
                <a:lnTo>
                  <a:pt x="191560" y="0"/>
                </a:lnTo>
                <a:cubicBezTo>
                  <a:pt x="188040" y="2517"/>
                  <a:pt x="185024" y="5535"/>
                  <a:pt x="181504" y="9059"/>
                </a:cubicBezTo>
                <a:cubicBezTo>
                  <a:pt x="176980" y="13084"/>
                  <a:pt x="168934" y="22646"/>
                  <a:pt x="166421" y="25666"/>
                </a:cubicBezTo>
                <a:cubicBezTo>
                  <a:pt x="158879" y="34725"/>
                  <a:pt x="153349" y="43280"/>
                  <a:pt x="150332" y="49319"/>
                </a:cubicBezTo>
                <a:cubicBezTo>
                  <a:pt x="136756" y="71965"/>
                  <a:pt x="111617" y="115748"/>
                  <a:pt x="111617" y="115748"/>
                </a:cubicBezTo>
                <a:cubicBezTo>
                  <a:pt x="111617" y="115748"/>
                  <a:pt x="86479" y="159532"/>
                  <a:pt x="72903" y="182178"/>
                </a:cubicBezTo>
                <a:cubicBezTo>
                  <a:pt x="71395" y="185198"/>
                  <a:pt x="69886" y="188721"/>
                  <a:pt x="67373" y="193250"/>
                </a:cubicBezTo>
                <a:cubicBezTo>
                  <a:pt x="60837" y="191740"/>
                  <a:pt x="51284" y="190230"/>
                  <a:pt x="50278" y="189727"/>
                </a:cubicBezTo>
                <a:cubicBezTo>
                  <a:pt x="37709" y="187715"/>
                  <a:pt x="27150" y="183185"/>
                  <a:pt x="18603" y="176643"/>
                </a:cubicBezTo>
                <a:cubicBezTo>
                  <a:pt x="10558" y="170604"/>
                  <a:pt x="6033" y="164062"/>
                  <a:pt x="3520" y="160035"/>
                </a:cubicBezTo>
                <a:cubicBezTo>
                  <a:pt x="3520" y="160035"/>
                  <a:pt x="3520" y="160035"/>
                  <a:pt x="0" y="153493"/>
                </a:cubicBezTo>
                <a:cubicBezTo>
                  <a:pt x="0" y="153493"/>
                  <a:pt x="0" y="153493"/>
                  <a:pt x="2514" y="148963"/>
                </a:cubicBezTo>
                <a:cubicBezTo>
                  <a:pt x="2514" y="148963"/>
                  <a:pt x="2514" y="148963"/>
                  <a:pt x="8849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noProof="0"/>
              <a:t>Click icon to add SmartArt graphic</a:t>
            </a:r>
            <a:endParaRPr lang="en-GB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21DA9E7-F5BE-4A84-8E7B-D736D9ED9355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740C6305-001D-4C03-A3F7-3388C109A97D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2384B9A-4174-4D9D-9EF8-E59B4C9515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1FA5FD0-3E85-4292-A0CE-868AE00072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061FEFF-B2E2-4D83-907B-D9C5A33FCC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6550" y="1412876"/>
            <a:ext cx="7631114" cy="3311524"/>
          </a:xfrm>
        </p:spPr>
        <p:txBody>
          <a:bodyPr rIns="0"/>
          <a:lstStyle>
            <a:lvl1pPr marL="0" indent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None/>
              <a:defRPr sz="3200" b="1">
                <a:solidFill>
                  <a:schemeClr val="tx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ClrTx/>
              <a:buNone/>
              <a:defRPr>
                <a:solidFill>
                  <a:schemeClr val="tx1"/>
                </a:solidFill>
              </a:defRPr>
            </a:lvl2pPr>
            <a:lvl3pPr marL="180000" indent="-1800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Insert highlight </a:t>
            </a:r>
            <a:r>
              <a:rPr lang="en-GB" noProof="0" dirty="0" err="1"/>
              <a:t>text</a:t>
            </a:r>
            <a:endParaRPr lang="en-GB" noProof="0" dirty="0"/>
          </a:p>
          <a:p>
            <a:pPr lvl="1"/>
            <a:r>
              <a:rPr lang="en-GB" noProof="0" dirty="0"/>
              <a:t>Second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2"/>
            <a:r>
              <a:rPr lang="en-GB" noProof="0" dirty="0"/>
              <a:t>Third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3"/>
            <a:r>
              <a:rPr lang="en-GB" noProof="0" dirty="0" err="1"/>
              <a:t>Fourth</a:t>
            </a:r>
            <a:r>
              <a:rPr lang="en-GB" noProof="0" dirty="0"/>
              <a:t> </a:t>
            </a:r>
            <a:r>
              <a:rPr lang="en-GB" noProof="0" dirty="0" err="1"/>
              <a:t>text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BAC0196D-514D-46A6-A03F-5BB2BFFCCC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836613"/>
            <a:ext cx="5688013" cy="574675"/>
          </a:xfrm>
        </p:spPr>
        <p:txBody>
          <a:bodyPr tIns="144000" rIns="0"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Header </a:t>
            </a:r>
            <a:r>
              <a:rPr lang="en-GB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51695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D5636C-4A3B-4687-A32F-A23F073303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550" y="3002629"/>
            <a:ext cx="7632165" cy="439200"/>
          </a:xfrm>
        </p:spPr>
        <p:txBody>
          <a:bodyPr tIns="0" rIns="0" anchor="b"/>
          <a:lstStyle>
            <a:lvl1pPr>
              <a:defRPr/>
            </a:lvl1pPr>
          </a:lstStyle>
          <a:p>
            <a:r>
              <a:rPr lang="en-GB" noProof="0"/>
              <a:t>Na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DD7453-3D77-4899-8249-C2AE1A1878FC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0C59B07-AB64-49A2-8F68-A244DF0DCABC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34511B7-2BED-45DB-8C67-E37B5196F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515AA9-6163-4AFF-9843-E18F50895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C9A3B9A-95AA-4913-969A-F19C557D1B4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 bwMode="gray">
          <a:xfrm>
            <a:off x="336550" y="4005263"/>
            <a:ext cx="7632165" cy="71913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FA533901-D860-4E7E-A5C4-5A4116A26262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 bwMode="gray">
          <a:xfrm>
            <a:off x="336550" y="4868863"/>
            <a:ext cx="7632165" cy="1289485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7913" algn="l"/>
              </a:tabLst>
              <a:defRPr sz="18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079500" algn="l"/>
              </a:tabLst>
              <a:defRPr sz="1800" b="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First text level for bullet points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70B089D3-CF39-44CB-9B6F-CF35F004D8F6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gray">
          <a:xfrm>
            <a:off x="8113825" y="4005263"/>
            <a:ext cx="3742678" cy="863600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First text level for bullet points</a:t>
            </a:r>
          </a:p>
          <a:p>
            <a:endParaRPr lang="en-GB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52C86FB-A613-4E59-A8BA-FD8F2C23664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621639" y="2557114"/>
            <a:ext cx="1705719" cy="555427"/>
          </a:xfrm>
          <a:custGeom>
            <a:avLst/>
            <a:gdLst/>
            <a:ahLst/>
            <a:cxnLst/>
            <a:rect l="l" t="t" r="r" b="b"/>
            <a:pathLst>
              <a:path w="1705719" h="555427">
                <a:moveTo>
                  <a:pt x="1510457" y="421928"/>
                </a:moveTo>
                <a:cubicBezTo>
                  <a:pt x="1501329" y="421928"/>
                  <a:pt x="1493788" y="425252"/>
                  <a:pt x="1487835" y="431899"/>
                </a:cubicBezTo>
                <a:cubicBezTo>
                  <a:pt x="1481882" y="438547"/>
                  <a:pt x="1478955" y="447576"/>
                  <a:pt x="1479054" y="458986"/>
                </a:cubicBezTo>
                <a:lnTo>
                  <a:pt x="1541562" y="458986"/>
                </a:lnTo>
                <a:cubicBezTo>
                  <a:pt x="1541264" y="446881"/>
                  <a:pt x="1538139" y="437679"/>
                  <a:pt x="1532186" y="431378"/>
                </a:cubicBezTo>
                <a:cubicBezTo>
                  <a:pt x="1526233" y="425078"/>
                  <a:pt x="1518989" y="421928"/>
                  <a:pt x="1510457" y="421928"/>
                </a:cubicBezTo>
                <a:close/>
                <a:moveTo>
                  <a:pt x="1138982" y="421928"/>
                </a:moveTo>
                <a:cubicBezTo>
                  <a:pt x="1129853" y="421928"/>
                  <a:pt x="1122313" y="425252"/>
                  <a:pt x="1116360" y="431899"/>
                </a:cubicBezTo>
                <a:cubicBezTo>
                  <a:pt x="1110407" y="438547"/>
                  <a:pt x="1107480" y="447576"/>
                  <a:pt x="1107579" y="458986"/>
                </a:cubicBezTo>
                <a:lnTo>
                  <a:pt x="1170087" y="458986"/>
                </a:lnTo>
                <a:cubicBezTo>
                  <a:pt x="1169789" y="446881"/>
                  <a:pt x="1166664" y="437679"/>
                  <a:pt x="1160711" y="431378"/>
                </a:cubicBezTo>
                <a:cubicBezTo>
                  <a:pt x="1154757" y="425078"/>
                  <a:pt x="1147515" y="421928"/>
                  <a:pt x="1138982" y="421928"/>
                </a:cubicBezTo>
                <a:close/>
                <a:moveTo>
                  <a:pt x="557957" y="421928"/>
                </a:moveTo>
                <a:cubicBezTo>
                  <a:pt x="548829" y="421928"/>
                  <a:pt x="541288" y="425252"/>
                  <a:pt x="535335" y="431899"/>
                </a:cubicBezTo>
                <a:cubicBezTo>
                  <a:pt x="529382" y="438547"/>
                  <a:pt x="526455" y="447576"/>
                  <a:pt x="526554" y="458986"/>
                </a:cubicBezTo>
                <a:lnTo>
                  <a:pt x="589062" y="458986"/>
                </a:lnTo>
                <a:cubicBezTo>
                  <a:pt x="588764" y="446881"/>
                  <a:pt x="585639" y="437679"/>
                  <a:pt x="579686" y="431378"/>
                </a:cubicBezTo>
                <a:cubicBezTo>
                  <a:pt x="573733" y="425078"/>
                  <a:pt x="566489" y="421928"/>
                  <a:pt x="557957" y="421928"/>
                </a:cubicBezTo>
                <a:close/>
                <a:moveTo>
                  <a:pt x="1247626" y="393502"/>
                </a:moveTo>
                <a:lnTo>
                  <a:pt x="1289447" y="393502"/>
                </a:lnTo>
                <a:lnTo>
                  <a:pt x="1289447" y="551557"/>
                </a:lnTo>
                <a:lnTo>
                  <a:pt x="1247626" y="551557"/>
                </a:lnTo>
                <a:close/>
                <a:moveTo>
                  <a:pt x="1507927" y="389930"/>
                </a:moveTo>
                <a:cubicBezTo>
                  <a:pt x="1531441" y="389930"/>
                  <a:pt x="1549995" y="397694"/>
                  <a:pt x="1563589" y="413221"/>
                </a:cubicBezTo>
                <a:cubicBezTo>
                  <a:pt x="1577181" y="428749"/>
                  <a:pt x="1583680" y="452537"/>
                  <a:pt x="1583085" y="484585"/>
                </a:cubicBezTo>
                <a:lnTo>
                  <a:pt x="1478310" y="484585"/>
                </a:lnTo>
                <a:cubicBezTo>
                  <a:pt x="1478607" y="496987"/>
                  <a:pt x="1481981" y="506636"/>
                  <a:pt x="1488430" y="513532"/>
                </a:cubicBezTo>
                <a:cubicBezTo>
                  <a:pt x="1494879" y="520427"/>
                  <a:pt x="1502916" y="523875"/>
                  <a:pt x="1512540" y="523875"/>
                </a:cubicBezTo>
                <a:cubicBezTo>
                  <a:pt x="1519089" y="523875"/>
                  <a:pt x="1524595" y="522089"/>
                  <a:pt x="1529060" y="518517"/>
                </a:cubicBezTo>
                <a:cubicBezTo>
                  <a:pt x="1533525" y="514945"/>
                  <a:pt x="1536899" y="509191"/>
                  <a:pt x="1539181" y="501253"/>
                </a:cubicBezTo>
                <a:lnTo>
                  <a:pt x="1580853" y="508248"/>
                </a:lnTo>
                <a:cubicBezTo>
                  <a:pt x="1575495" y="523528"/>
                  <a:pt x="1567036" y="535161"/>
                  <a:pt x="1555477" y="543148"/>
                </a:cubicBezTo>
                <a:cubicBezTo>
                  <a:pt x="1543918" y="551136"/>
                  <a:pt x="1529457" y="555129"/>
                  <a:pt x="1512094" y="555129"/>
                </a:cubicBezTo>
                <a:cubicBezTo>
                  <a:pt x="1484610" y="555129"/>
                  <a:pt x="1464271" y="546150"/>
                  <a:pt x="1451074" y="528191"/>
                </a:cubicBezTo>
                <a:cubicBezTo>
                  <a:pt x="1440656" y="513804"/>
                  <a:pt x="1435447" y="495647"/>
                  <a:pt x="1435447" y="473720"/>
                </a:cubicBezTo>
                <a:cubicBezTo>
                  <a:pt x="1435447" y="447526"/>
                  <a:pt x="1442293" y="427013"/>
                  <a:pt x="1455986" y="412180"/>
                </a:cubicBezTo>
                <a:cubicBezTo>
                  <a:pt x="1469678" y="397346"/>
                  <a:pt x="1486991" y="389930"/>
                  <a:pt x="1507927" y="389930"/>
                </a:cubicBezTo>
                <a:close/>
                <a:moveTo>
                  <a:pt x="1136452" y="389930"/>
                </a:moveTo>
                <a:cubicBezTo>
                  <a:pt x="1159967" y="389930"/>
                  <a:pt x="1178520" y="397694"/>
                  <a:pt x="1192113" y="413221"/>
                </a:cubicBezTo>
                <a:cubicBezTo>
                  <a:pt x="1205706" y="428749"/>
                  <a:pt x="1212205" y="452537"/>
                  <a:pt x="1211610" y="484585"/>
                </a:cubicBezTo>
                <a:lnTo>
                  <a:pt x="1106835" y="484585"/>
                </a:lnTo>
                <a:cubicBezTo>
                  <a:pt x="1107133" y="496987"/>
                  <a:pt x="1110506" y="506636"/>
                  <a:pt x="1116955" y="513532"/>
                </a:cubicBezTo>
                <a:cubicBezTo>
                  <a:pt x="1123404" y="520427"/>
                  <a:pt x="1131441" y="523875"/>
                  <a:pt x="1141065" y="523875"/>
                </a:cubicBezTo>
                <a:cubicBezTo>
                  <a:pt x="1147614" y="523875"/>
                  <a:pt x="1153120" y="522089"/>
                  <a:pt x="1157585" y="518517"/>
                </a:cubicBezTo>
                <a:cubicBezTo>
                  <a:pt x="1162050" y="514945"/>
                  <a:pt x="1165423" y="509191"/>
                  <a:pt x="1167706" y="501253"/>
                </a:cubicBezTo>
                <a:lnTo>
                  <a:pt x="1209377" y="508248"/>
                </a:lnTo>
                <a:cubicBezTo>
                  <a:pt x="1204020" y="523528"/>
                  <a:pt x="1195561" y="535161"/>
                  <a:pt x="1184002" y="543148"/>
                </a:cubicBezTo>
                <a:cubicBezTo>
                  <a:pt x="1172443" y="551136"/>
                  <a:pt x="1157982" y="555129"/>
                  <a:pt x="1140619" y="555129"/>
                </a:cubicBezTo>
                <a:cubicBezTo>
                  <a:pt x="1113135" y="555129"/>
                  <a:pt x="1092795" y="546150"/>
                  <a:pt x="1079599" y="528191"/>
                </a:cubicBezTo>
                <a:cubicBezTo>
                  <a:pt x="1069181" y="513804"/>
                  <a:pt x="1063972" y="495647"/>
                  <a:pt x="1063972" y="473720"/>
                </a:cubicBezTo>
                <a:cubicBezTo>
                  <a:pt x="1063972" y="447526"/>
                  <a:pt x="1070819" y="427013"/>
                  <a:pt x="1084511" y="412180"/>
                </a:cubicBezTo>
                <a:cubicBezTo>
                  <a:pt x="1098203" y="397346"/>
                  <a:pt x="1115517" y="389930"/>
                  <a:pt x="1136452" y="389930"/>
                </a:cubicBezTo>
                <a:close/>
                <a:moveTo>
                  <a:pt x="739676" y="389930"/>
                </a:moveTo>
                <a:cubicBezTo>
                  <a:pt x="749201" y="389930"/>
                  <a:pt x="758379" y="392559"/>
                  <a:pt x="767209" y="397818"/>
                </a:cubicBezTo>
                <a:lnTo>
                  <a:pt x="754261" y="434281"/>
                </a:lnTo>
                <a:cubicBezTo>
                  <a:pt x="747216" y="429717"/>
                  <a:pt x="740668" y="427435"/>
                  <a:pt x="734616" y="427435"/>
                </a:cubicBezTo>
                <a:cubicBezTo>
                  <a:pt x="728762" y="427435"/>
                  <a:pt x="723801" y="429047"/>
                  <a:pt x="719733" y="432271"/>
                </a:cubicBezTo>
                <a:cubicBezTo>
                  <a:pt x="715665" y="435496"/>
                  <a:pt x="712465" y="441325"/>
                  <a:pt x="710133" y="449759"/>
                </a:cubicBezTo>
                <a:cubicBezTo>
                  <a:pt x="707802" y="458192"/>
                  <a:pt x="706636" y="475853"/>
                  <a:pt x="706636" y="502742"/>
                </a:cubicBezTo>
                <a:lnTo>
                  <a:pt x="706636" y="551557"/>
                </a:lnTo>
                <a:lnTo>
                  <a:pt x="664815" y="551557"/>
                </a:lnTo>
                <a:lnTo>
                  <a:pt x="664815" y="393502"/>
                </a:lnTo>
                <a:lnTo>
                  <a:pt x="703659" y="393502"/>
                </a:lnTo>
                <a:lnTo>
                  <a:pt x="703659" y="415975"/>
                </a:lnTo>
                <a:cubicBezTo>
                  <a:pt x="710307" y="405358"/>
                  <a:pt x="716285" y="398363"/>
                  <a:pt x="721593" y="394990"/>
                </a:cubicBezTo>
                <a:cubicBezTo>
                  <a:pt x="726901" y="391617"/>
                  <a:pt x="732929" y="389930"/>
                  <a:pt x="739676" y="389930"/>
                </a:cubicBezTo>
                <a:close/>
                <a:moveTo>
                  <a:pt x="555427" y="389930"/>
                </a:moveTo>
                <a:cubicBezTo>
                  <a:pt x="578941" y="389930"/>
                  <a:pt x="597495" y="397694"/>
                  <a:pt x="611088" y="413221"/>
                </a:cubicBezTo>
                <a:cubicBezTo>
                  <a:pt x="624681" y="428749"/>
                  <a:pt x="631180" y="452537"/>
                  <a:pt x="630585" y="484585"/>
                </a:cubicBezTo>
                <a:lnTo>
                  <a:pt x="525810" y="484585"/>
                </a:lnTo>
                <a:cubicBezTo>
                  <a:pt x="526107" y="496987"/>
                  <a:pt x="529481" y="506636"/>
                  <a:pt x="535930" y="513532"/>
                </a:cubicBezTo>
                <a:cubicBezTo>
                  <a:pt x="542379" y="520427"/>
                  <a:pt x="550416" y="523875"/>
                  <a:pt x="560040" y="523875"/>
                </a:cubicBezTo>
                <a:cubicBezTo>
                  <a:pt x="566589" y="523875"/>
                  <a:pt x="572095" y="522089"/>
                  <a:pt x="576560" y="518517"/>
                </a:cubicBezTo>
                <a:cubicBezTo>
                  <a:pt x="581025" y="514945"/>
                  <a:pt x="584399" y="509191"/>
                  <a:pt x="586681" y="501253"/>
                </a:cubicBezTo>
                <a:lnTo>
                  <a:pt x="628353" y="508248"/>
                </a:lnTo>
                <a:cubicBezTo>
                  <a:pt x="622995" y="523528"/>
                  <a:pt x="614536" y="535161"/>
                  <a:pt x="602977" y="543148"/>
                </a:cubicBezTo>
                <a:cubicBezTo>
                  <a:pt x="591418" y="551136"/>
                  <a:pt x="576957" y="555129"/>
                  <a:pt x="559594" y="555129"/>
                </a:cubicBezTo>
                <a:cubicBezTo>
                  <a:pt x="532110" y="555129"/>
                  <a:pt x="511770" y="546150"/>
                  <a:pt x="498574" y="528191"/>
                </a:cubicBezTo>
                <a:cubicBezTo>
                  <a:pt x="488156" y="513804"/>
                  <a:pt x="482947" y="495647"/>
                  <a:pt x="482947" y="473720"/>
                </a:cubicBezTo>
                <a:cubicBezTo>
                  <a:pt x="482947" y="447526"/>
                  <a:pt x="489793" y="427013"/>
                  <a:pt x="503486" y="412180"/>
                </a:cubicBezTo>
                <a:cubicBezTo>
                  <a:pt x="517178" y="397346"/>
                  <a:pt x="534491" y="389930"/>
                  <a:pt x="555427" y="389930"/>
                </a:cubicBezTo>
                <a:close/>
                <a:moveTo>
                  <a:pt x="444401" y="389930"/>
                </a:moveTo>
                <a:cubicBezTo>
                  <a:pt x="453926" y="389930"/>
                  <a:pt x="463104" y="392559"/>
                  <a:pt x="471934" y="397818"/>
                </a:cubicBezTo>
                <a:lnTo>
                  <a:pt x="458986" y="434281"/>
                </a:lnTo>
                <a:cubicBezTo>
                  <a:pt x="451941" y="429717"/>
                  <a:pt x="445393" y="427435"/>
                  <a:pt x="439341" y="427435"/>
                </a:cubicBezTo>
                <a:cubicBezTo>
                  <a:pt x="433487" y="427435"/>
                  <a:pt x="428526" y="429047"/>
                  <a:pt x="424458" y="432271"/>
                </a:cubicBezTo>
                <a:cubicBezTo>
                  <a:pt x="420390" y="435496"/>
                  <a:pt x="417190" y="441325"/>
                  <a:pt x="414859" y="449759"/>
                </a:cubicBezTo>
                <a:cubicBezTo>
                  <a:pt x="412527" y="458192"/>
                  <a:pt x="411361" y="475853"/>
                  <a:pt x="411361" y="502742"/>
                </a:cubicBezTo>
                <a:lnTo>
                  <a:pt x="411361" y="551557"/>
                </a:lnTo>
                <a:lnTo>
                  <a:pt x="369540" y="551557"/>
                </a:lnTo>
                <a:lnTo>
                  <a:pt x="369540" y="393502"/>
                </a:lnTo>
                <a:lnTo>
                  <a:pt x="408384" y="393502"/>
                </a:lnTo>
                <a:lnTo>
                  <a:pt x="408384" y="415975"/>
                </a:lnTo>
                <a:cubicBezTo>
                  <a:pt x="415032" y="405358"/>
                  <a:pt x="421010" y="398363"/>
                  <a:pt x="426318" y="394990"/>
                </a:cubicBezTo>
                <a:cubicBezTo>
                  <a:pt x="431626" y="391617"/>
                  <a:pt x="437654" y="389930"/>
                  <a:pt x="444401" y="389930"/>
                </a:cubicBezTo>
                <a:close/>
                <a:moveTo>
                  <a:pt x="1386781" y="337691"/>
                </a:moveTo>
                <a:lnTo>
                  <a:pt x="1386781" y="393502"/>
                </a:lnTo>
                <a:lnTo>
                  <a:pt x="1415356" y="393502"/>
                </a:lnTo>
                <a:lnTo>
                  <a:pt x="1415356" y="426839"/>
                </a:lnTo>
                <a:lnTo>
                  <a:pt x="1386781" y="426839"/>
                </a:lnTo>
                <a:lnTo>
                  <a:pt x="1386781" y="490538"/>
                </a:lnTo>
                <a:cubicBezTo>
                  <a:pt x="1386781" y="503436"/>
                  <a:pt x="1387053" y="510952"/>
                  <a:pt x="1387599" y="513085"/>
                </a:cubicBezTo>
                <a:cubicBezTo>
                  <a:pt x="1388145" y="515218"/>
                  <a:pt x="1389385" y="516980"/>
                  <a:pt x="1391320" y="518369"/>
                </a:cubicBezTo>
                <a:cubicBezTo>
                  <a:pt x="1393255" y="519758"/>
                  <a:pt x="1395611" y="520452"/>
                  <a:pt x="1398389" y="520452"/>
                </a:cubicBezTo>
                <a:cubicBezTo>
                  <a:pt x="1402259" y="520452"/>
                  <a:pt x="1407865" y="519113"/>
                  <a:pt x="1415207" y="516434"/>
                </a:cubicBezTo>
                <a:lnTo>
                  <a:pt x="1418779" y="548878"/>
                </a:lnTo>
                <a:cubicBezTo>
                  <a:pt x="1409055" y="553045"/>
                  <a:pt x="1398042" y="555129"/>
                  <a:pt x="1385739" y="555129"/>
                </a:cubicBezTo>
                <a:cubicBezTo>
                  <a:pt x="1378198" y="555129"/>
                  <a:pt x="1371402" y="553864"/>
                  <a:pt x="1365349" y="551334"/>
                </a:cubicBezTo>
                <a:cubicBezTo>
                  <a:pt x="1359297" y="548804"/>
                  <a:pt x="1354857" y="545530"/>
                  <a:pt x="1352029" y="541511"/>
                </a:cubicBezTo>
                <a:cubicBezTo>
                  <a:pt x="1349201" y="537493"/>
                  <a:pt x="1347242" y="532061"/>
                  <a:pt x="1346151" y="525215"/>
                </a:cubicBezTo>
                <a:cubicBezTo>
                  <a:pt x="1345257" y="520353"/>
                  <a:pt x="1344811" y="510530"/>
                  <a:pt x="1344811" y="495747"/>
                </a:cubicBezTo>
                <a:lnTo>
                  <a:pt x="1344811" y="426839"/>
                </a:lnTo>
                <a:lnTo>
                  <a:pt x="1325612" y="426839"/>
                </a:lnTo>
                <a:lnTo>
                  <a:pt x="1325612" y="393502"/>
                </a:lnTo>
                <a:lnTo>
                  <a:pt x="1344811" y="393502"/>
                </a:lnTo>
                <a:lnTo>
                  <a:pt x="1344811" y="362099"/>
                </a:lnTo>
                <a:close/>
                <a:moveTo>
                  <a:pt x="1247626" y="333375"/>
                </a:moveTo>
                <a:lnTo>
                  <a:pt x="1289447" y="333375"/>
                </a:lnTo>
                <a:lnTo>
                  <a:pt x="1289447" y="372070"/>
                </a:lnTo>
                <a:lnTo>
                  <a:pt x="1247626" y="372070"/>
                </a:lnTo>
                <a:close/>
                <a:moveTo>
                  <a:pt x="190202" y="333375"/>
                </a:moveTo>
                <a:lnTo>
                  <a:pt x="232023" y="333375"/>
                </a:lnTo>
                <a:lnTo>
                  <a:pt x="232023" y="413594"/>
                </a:lnTo>
                <a:cubicBezTo>
                  <a:pt x="245517" y="397818"/>
                  <a:pt x="261640" y="389930"/>
                  <a:pt x="280392" y="389930"/>
                </a:cubicBezTo>
                <a:cubicBezTo>
                  <a:pt x="290017" y="389930"/>
                  <a:pt x="298698" y="391716"/>
                  <a:pt x="306437" y="395288"/>
                </a:cubicBezTo>
                <a:cubicBezTo>
                  <a:pt x="314176" y="398860"/>
                  <a:pt x="320005" y="403424"/>
                  <a:pt x="323925" y="408980"/>
                </a:cubicBezTo>
                <a:cubicBezTo>
                  <a:pt x="327844" y="414536"/>
                  <a:pt x="330523" y="420688"/>
                  <a:pt x="331961" y="427435"/>
                </a:cubicBezTo>
                <a:cubicBezTo>
                  <a:pt x="333400" y="434181"/>
                  <a:pt x="334119" y="444649"/>
                  <a:pt x="334119" y="458837"/>
                </a:cubicBezTo>
                <a:lnTo>
                  <a:pt x="334119" y="551557"/>
                </a:lnTo>
                <a:lnTo>
                  <a:pt x="292299" y="551557"/>
                </a:lnTo>
                <a:lnTo>
                  <a:pt x="292299" y="468065"/>
                </a:lnTo>
                <a:cubicBezTo>
                  <a:pt x="292299" y="451495"/>
                  <a:pt x="291505" y="440978"/>
                  <a:pt x="289917" y="436513"/>
                </a:cubicBezTo>
                <a:cubicBezTo>
                  <a:pt x="288330" y="432048"/>
                  <a:pt x="285527" y="428501"/>
                  <a:pt x="281509" y="425872"/>
                </a:cubicBezTo>
                <a:cubicBezTo>
                  <a:pt x="277490" y="423242"/>
                  <a:pt x="272455" y="421928"/>
                  <a:pt x="266402" y="421928"/>
                </a:cubicBezTo>
                <a:cubicBezTo>
                  <a:pt x="259457" y="421928"/>
                  <a:pt x="253256" y="423615"/>
                  <a:pt x="247799" y="426988"/>
                </a:cubicBezTo>
                <a:cubicBezTo>
                  <a:pt x="242342" y="430362"/>
                  <a:pt x="238348" y="435446"/>
                  <a:pt x="235818" y="442243"/>
                </a:cubicBezTo>
                <a:cubicBezTo>
                  <a:pt x="233288" y="449039"/>
                  <a:pt x="232023" y="459085"/>
                  <a:pt x="232023" y="472381"/>
                </a:cubicBezTo>
                <a:lnTo>
                  <a:pt x="232023" y="551557"/>
                </a:lnTo>
                <a:lnTo>
                  <a:pt x="190202" y="551557"/>
                </a:lnTo>
                <a:close/>
                <a:moveTo>
                  <a:pt x="113109" y="333375"/>
                </a:moveTo>
                <a:lnTo>
                  <a:pt x="157163" y="333375"/>
                </a:lnTo>
                <a:lnTo>
                  <a:pt x="157163" y="551557"/>
                </a:lnTo>
                <a:lnTo>
                  <a:pt x="113109" y="551557"/>
                </a:lnTo>
                <a:close/>
                <a:moveTo>
                  <a:pt x="952798" y="329654"/>
                </a:moveTo>
                <a:cubicBezTo>
                  <a:pt x="980182" y="329654"/>
                  <a:pt x="1000795" y="335657"/>
                  <a:pt x="1014636" y="347663"/>
                </a:cubicBezTo>
                <a:cubicBezTo>
                  <a:pt x="1028477" y="359668"/>
                  <a:pt x="1035745" y="375692"/>
                  <a:pt x="1036439" y="395734"/>
                </a:cubicBezTo>
                <a:lnTo>
                  <a:pt x="992386" y="397669"/>
                </a:lnTo>
                <a:cubicBezTo>
                  <a:pt x="990501" y="386457"/>
                  <a:pt x="986458" y="378396"/>
                  <a:pt x="980257" y="373484"/>
                </a:cubicBezTo>
                <a:cubicBezTo>
                  <a:pt x="974055" y="368573"/>
                  <a:pt x="964754" y="366117"/>
                  <a:pt x="952351" y="366117"/>
                </a:cubicBezTo>
                <a:cubicBezTo>
                  <a:pt x="939552" y="366117"/>
                  <a:pt x="929531" y="368747"/>
                  <a:pt x="922288" y="374005"/>
                </a:cubicBezTo>
                <a:cubicBezTo>
                  <a:pt x="917625" y="377379"/>
                  <a:pt x="915293" y="381893"/>
                  <a:pt x="915293" y="387549"/>
                </a:cubicBezTo>
                <a:cubicBezTo>
                  <a:pt x="915293" y="392708"/>
                  <a:pt x="917476" y="397123"/>
                  <a:pt x="921841" y="400794"/>
                </a:cubicBezTo>
                <a:cubicBezTo>
                  <a:pt x="927398" y="405458"/>
                  <a:pt x="940891" y="410319"/>
                  <a:pt x="962323" y="415379"/>
                </a:cubicBezTo>
                <a:cubicBezTo>
                  <a:pt x="983754" y="420440"/>
                  <a:pt x="999604" y="425673"/>
                  <a:pt x="1009873" y="431081"/>
                </a:cubicBezTo>
                <a:cubicBezTo>
                  <a:pt x="1020143" y="436488"/>
                  <a:pt x="1028179" y="443880"/>
                  <a:pt x="1033983" y="453256"/>
                </a:cubicBezTo>
                <a:cubicBezTo>
                  <a:pt x="1039788" y="462632"/>
                  <a:pt x="1042690" y="474216"/>
                  <a:pt x="1042690" y="488008"/>
                </a:cubicBezTo>
                <a:cubicBezTo>
                  <a:pt x="1042690" y="500509"/>
                  <a:pt x="1039217" y="512217"/>
                  <a:pt x="1032272" y="523131"/>
                </a:cubicBezTo>
                <a:cubicBezTo>
                  <a:pt x="1025327" y="534045"/>
                  <a:pt x="1015504" y="542156"/>
                  <a:pt x="1002804" y="547464"/>
                </a:cubicBezTo>
                <a:cubicBezTo>
                  <a:pt x="990104" y="552773"/>
                  <a:pt x="974279" y="555427"/>
                  <a:pt x="955328" y="555427"/>
                </a:cubicBezTo>
                <a:cubicBezTo>
                  <a:pt x="927745" y="555427"/>
                  <a:pt x="906562" y="549052"/>
                  <a:pt x="891778" y="536302"/>
                </a:cubicBezTo>
                <a:cubicBezTo>
                  <a:pt x="876995" y="523553"/>
                  <a:pt x="868164" y="504974"/>
                  <a:pt x="865287" y="480566"/>
                </a:cubicBezTo>
                <a:lnTo>
                  <a:pt x="908149" y="476399"/>
                </a:lnTo>
                <a:cubicBezTo>
                  <a:pt x="910729" y="490786"/>
                  <a:pt x="915963" y="501353"/>
                  <a:pt x="923851" y="508099"/>
                </a:cubicBezTo>
                <a:cubicBezTo>
                  <a:pt x="931739" y="514846"/>
                  <a:pt x="942380" y="518220"/>
                  <a:pt x="955774" y="518220"/>
                </a:cubicBezTo>
                <a:cubicBezTo>
                  <a:pt x="969963" y="518220"/>
                  <a:pt x="980653" y="515218"/>
                  <a:pt x="987847" y="509216"/>
                </a:cubicBezTo>
                <a:cubicBezTo>
                  <a:pt x="995040" y="503213"/>
                  <a:pt x="998637" y="496193"/>
                  <a:pt x="998637" y="488156"/>
                </a:cubicBezTo>
                <a:cubicBezTo>
                  <a:pt x="998637" y="482997"/>
                  <a:pt x="997124" y="478607"/>
                  <a:pt x="994098" y="474985"/>
                </a:cubicBezTo>
                <a:cubicBezTo>
                  <a:pt x="991071" y="471364"/>
                  <a:pt x="985788" y="468213"/>
                  <a:pt x="978247" y="465535"/>
                </a:cubicBezTo>
                <a:cubicBezTo>
                  <a:pt x="973088" y="463749"/>
                  <a:pt x="961331" y="460574"/>
                  <a:pt x="942975" y="456010"/>
                </a:cubicBezTo>
                <a:cubicBezTo>
                  <a:pt x="919361" y="450156"/>
                  <a:pt x="902791" y="442962"/>
                  <a:pt x="893267" y="434429"/>
                </a:cubicBezTo>
                <a:cubicBezTo>
                  <a:pt x="879872" y="422424"/>
                  <a:pt x="873175" y="407789"/>
                  <a:pt x="873175" y="390525"/>
                </a:cubicBezTo>
                <a:cubicBezTo>
                  <a:pt x="873175" y="379413"/>
                  <a:pt x="876325" y="369019"/>
                  <a:pt x="882625" y="359346"/>
                </a:cubicBezTo>
                <a:cubicBezTo>
                  <a:pt x="888926" y="349672"/>
                  <a:pt x="898004" y="342305"/>
                  <a:pt x="909861" y="337245"/>
                </a:cubicBezTo>
                <a:cubicBezTo>
                  <a:pt x="921717" y="332185"/>
                  <a:pt x="936030" y="329654"/>
                  <a:pt x="952798" y="329654"/>
                </a:cubicBezTo>
                <a:close/>
                <a:moveTo>
                  <a:pt x="1477715" y="142280"/>
                </a:moveTo>
                <a:cubicBezTo>
                  <a:pt x="1472357" y="144066"/>
                  <a:pt x="1463873" y="146199"/>
                  <a:pt x="1452265" y="148679"/>
                </a:cubicBezTo>
                <a:cubicBezTo>
                  <a:pt x="1440656" y="151160"/>
                  <a:pt x="1433066" y="153591"/>
                  <a:pt x="1429494" y="155972"/>
                </a:cubicBezTo>
                <a:cubicBezTo>
                  <a:pt x="1424037" y="159842"/>
                  <a:pt x="1421309" y="164753"/>
                  <a:pt x="1421309" y="170706"/>
                </a:cubicBezTo>
                <a:cubicBezTo>
                  <a:pt x="1421309" y="176560"/>
                  <a:pt x="1423492" y="181620"/>
                  <a:pt x="1427857" y="185886"/>
                </a:cubicBezTo>
                <a:cubicBezTo>
                  <a:pt x="1432223" y="190153"/>
                  <a:pt x="1437779" y="192286"/>
                  <a:pt x="1444526" y="192286"/>
                </a:cubicBezTo>
                <a:cubicBezTo>
                  <a:pt x="1452067" y="192286"/>
                  <a:pt x="1459260" y="189806"/>
                  <a:pt x="1466106" y="184845"/>
                </a:cubicBezTo>
                <a:cubicBezTo>
                  <a:pt x="1471166" y="181074"/>
                  <a:pt x="1474490" y="176461"/>
                  <a:pt x="1476077" y="171004"/>
                </a:cubicBezTo>
                <a:cubicBezTo>
                  <a:pt x="1477169" y="167432"/>
                  <a:pt x="1477715" y="160635"/>
                  <a:pt x="1477715" y="150614"/>
                </a:cubicBezTo>
                <a:close/>
                <a:moveTo>
                  <a:pt x="858590" y="142280"/>
                </a:moveTo>
                <a:cubicBezTo>
                  <a:pt x="853232" y="144066"/>
                  <a:pt x="844749" y="146199"/>
                  <a:pt x="833140" y="148679"/>
                </a:cubicBezTo>
                <a:cubicBezTo>
                  <a:pt x="821531" y="151160"/>
                  <a:pt x="813941" y="153591"/>
                  <a:pt x="810369" y="155972"/>
                </a:cubicBezTo>
                <a:cubicBezTo>
                  <a:pt x="804912" y="159842"/>
                  <a:pt x="802184" y="164753"/>
                  <a:pt x="802184" y="170706"/>
                </a:cubicBezTo>
                <a:cubicBezTo>
                  <a:pt x="802184" y="176560"/>
                  <a:pt x="804366" y="181620"/>
                  <a:pt x="808732" y="185886"/>
                </a:cubicBezTo>
                <a:cubicBezTo>
                  <a:pt x="813098" y="190153"/>
                  <a:pt x="818654" y="192286"/>
                  <a:pt x="825401" y="192286"/>
                </a:cubicBezTo>
                <a:cubicBezTo>
                  <a:pt x="832941" y="192286"/>
                  <a:pt x="840135" y="189806"/>
                  <a:pt x="846981" y="184845"/>
                </a:cubicBezTo>
                <a:cubicBezTo>
                  <a:pt x="852041" y="181074"/>
                  <a:pt x="855365" y="176461"/>
                  <a:pt x="856953" y="171004"/>
                </a:cubicBezTo>
                <a:cubicBezTo>
                  <a:pt x="858044" y="167432"/>
                  <a:pt x="858590" y="160635"/>
                  <a:pt x="858590" y="150614"/>
                </a:cubicBezTo>
                <a:close/>
                <a:moveTo>
                  <a:pt x="606326" y="123081"/>
                </a:moveTo>
                <a:lnTo>
                  <a:pt x="606326" y="181422"/>
                </a:lnTo>
                <a:lnTo>
                  <a:pt x="647105" y="181422"/>
                </a:lnTo>
                <a:cubicBezTo>
                  <a:pt x="662980" y="181422"/>
                  <a:pt x="673051" y="180975"/>
                  <a:pt x="677317" y="180082"/>
                </a:cubicBezTo>
                <a:cubicBezTo>
                  <a:pt x="683865" y="178892"/>
                  <a:pt x="689198" y="175989"/>
                  <a:pt x="693316" y="171376"/>
                </a:cubicBezTo>
                <a:cubicBezTo>
                  <a:pt x="697433" y="166762"/>
                  <a:pt x="699492" y="160586"/>
                  <a:pt x="699492" y="152847"/>
                </a:cubicBezTo>
                <a:cubicBezTo>
                  <a:pt x="699492" y="146298"/>
                  <a:pt x="697905" y="140742"/>
                  <a:pt x="694730" y="136178"/>
                </a:cubicBezTo>
                <a:cubicBezTo>
                  <a:pt x="691555" y="131614"/>
                  <a:pt x="686966" y="128290"/>
                  <a:pt x="680963" y="126206"/>
                </a:cubicBezTo>
                <a:cubicBezTo>
                  <a:pt x="674960" y="124123"/>
                  <a:pt x="661938" y="123081"/>
                  <a:pt x="641896" y="123081"/>
                </a:cubicBezTo>
                <a:close/>
                <a:moveTo>
                  <a:pt x="376982" y="88553"/>
                </a:moveTo>
                <a:cubicBezTo>
                  <a:pt x="367854" y="88553"/>
                  <a:pt x="360313" y="91877"/>
                  <a:pt x="354360" y="98524"/>
                </a:cubicBezTo>
                <a:cubicBezTo>
                  <a:pt x="348407" y="105172"/>
                  <a:pt x="345480" y="114201"/>
                  <a:pt x="345579" y="125611"/>
                </a:cubicBezTo>
                <a:lnTo>
                  <a:pt x="408087" y="125611"/>
                </a:lnTo>
                <a:cubicBezTo>
                  <a:pt x="407789" y="113506"/>
                  <a:pt x="404664" y="104304"/>
                  <a:pt x="398711" y="98003"/>
                </a:cubicBezTo>
                <a:cubicBezTo>
                  <a:pt x="392758" y="91703"/>
                  <a:pt x="385515" y="88553"/>
                  <a:pt x="376982" y="88553"/>
                </a:cubicBezTo>
                <a:close/>
                <a:moveTo>
                  <a:pt x="218926" y="60127"/>
                </a:moveTo>
                <a:lnTo>
                  <a:pt x="260747" y="60127"/>
                </a:lnTo>
                <a:lnTo>
                  <a:pt x="260747" y="218182"/>
                </a:lnTo>
                <a:lnTo>
                  <a:pt x="218926" y="218182"/>
                </a:lnTo>
                <a:close/>
                <a:moveTo>
                  <a:pt x="1652587" y="56555"/>
                </a:moveTo>
                <a:cubicBezTo>
                  <a:pt x="1661815" y="56555"/>
                  <a:pt x="1670249" y="58217"/>
                  <a:pt x="1677889" y="61541"/>
                </a:cubicBezTo>
                <a:cubicBezTo>
                  <a:pt x="1685528" y="64864"/>
                  <a:pt x="1691308" y="69106"/>
                  <a:pt x="1695227" y="74265"/>
                </a:cubicBezTo>
                <a:cubicBezTo>
                  <a:pt x="1699146" y="79425"/>
                  <a:pt x="1701875" y="85279"/>
                  <a:pt x="1703413" y="91827"/>
                </a:cubicBezTo>
                <a:cubicBezTo>
                  <a:pt x="1704950" y="98376"/>
                  <a:pt x="1705719" y="107752"/>
                  <a:pt x="1705719" y="119956"/>
                </a:cubicBezTo>
                <a:lnTo>
                  <a:pt x="1705719" y="218182"/>
                </a:lnTo>
                <a:lnTo>
                  <a:pt x="1663899" y="218182"/>
                </a:lnTo>
                <a:lnTo>
                  <a:pt x="1663899" y="137517"/>
                </a:lnTo>
                <a:cubicBezTo>
                  <a:pt x="1663899" y="120452"/>
                  <a:pt x="1663005" y="109414"/>
                  <a:pt x="1661220" y="104403"/>
                </a:cubicBezTo>
                <a:cubicBezTo>
                  <a:pt x="1659434" y="99392"/>
                  <a:pt x="1656531" y="95498"/>
                  <a:pt x="1652513" y="92720"/>
                </a:cubicBezTo>
                <a:cubicBezTo>
                  <a:pt x="1648495" y="89942"/>
                  <a:pt x="1643658" y="88553"/>
                  <a:pt x="1638003" y="88553"/>
                </a:cubicBezTo>
                <a:cubicBezTo>
                  <a:pt x="1630759" y="88553"/>
                  <a:pt x="1624261" y="90537"/>
                  <a:pt x="1618506" y="94506"/>
                </a:cubicBezTo>
                <a:cubicBezTo>
                  <a:pt x="1612751" y="98475"/>
                  <a:pt x="1608807" y="103733"/>
                  <a:pt x="1606674" y="110282"/>
                </a:cubicBezTo>
                <a:cubicBezTo>
                  <a:pt x="1604541" y="116830"/>
                  <a:pt x="1603474" y="128935"/>
                  <a:pt x="1603474" y="146596"/>
                </a:cubicBezTo>
                <a:lnTo>
                  <a:pt x="1603474" y="218182"/>
                </a:lnTo>
                <a:lnTo>
                  <a:pt x="1561654" y="218182"/>
                </a:lnTo>
                <a:lnTo>
                  <a:pt x="1561654" y="60127"/>
                </a:lnTo>
                <a:lnTo>
                  <a:pt x="1600498" y="60127"/>
                </a:lnTo>
                <a:lnTo>
                  <a:pt x="1600498" y="83344"/>
                </a:lnTo>
                <a:cubicBezTo>
                  <a:pt x="1614289" y="65485"/>
                  <a:pt x="1631653" y="56555"/>
                  <a:pt x="1652587" y="56555"/>
                </a:cubicBezTo>
                <a:close/>
                <a:moveTo>
                  <a:pt x="1452265" y="56555"/>
                </a:moveTo>
                <a:cubicBezTo>
                  <a:pt x="1470918" y="56555"/>
                  <a:pt x="1484809" y="58762"/>
                  <a:pt x="1493937" y="63178"/>
                </a:cubicBezTo>
                <a:cubicBezTo>
                  <a:pt x="1503065" y="67593"/>
                  <a:pt x="1509489" y="73199"/>
                  <a:pt x="1513210" y="79995"/>
                </a:cubicBezTo>
                <a:cubicBezTo>
                  <a:pt x="1516931" y="86792"/>
                  <a:pt x="1518791" y="99269"/>
                  <a:pt x="1518791" y="117426"/>
                </a:cubicBezTo>
                <a:lnTo>
                  <a:pt x="1518345" y="166241"/>
                </a:lnTo>
                <a:cubicBezTo>
                  <a:pt x="1518345" y="180132"/>
                  <a:pt x="1519014" y="190376"/>
                  <a:pt x="1520354" y="196974"/>
                </a:cubicBezTo>
                <a:cubicBezTo>
                  <a:pt x="1521693" y="203572"/>
                  <a:pt x="1524199" y="210642"/>
                  <a:pt x="1527870" y="218182"/>
                </a:cubicBezTo>
                <a:lnTo>
                  <a:pt x="1486495" y="218182"/>
                </a:lnTo>
                <a:cubicBezTo>
                  <a:pt x="1485404" y="215404"/>
                  <a:pt x="1484065" y="211287"/>
                  <a:pt x="1482477" y="205829"/>
                </a:cubicBezTo>
                <a:cubicBezTo>
                  <a:pt x="1481783" y="203349"/>
                  <a:pt x="1481287" y="201712"/>
                  <a:pt x="1480989" y="200918"/>
                </a:cubicBezTo>
                <a:cubicBezTo>
                  <a:pt x="1473845" y="207863"/>
                  <a:pt x="1466205" y="213072"/>
                  <a:pt x="1458069" y="216545"/>
                </a:cubicBezTo>
                <a:cubicBezTo>
                  <a:pt x="1449933" y="220018"/>
                  <a:pt x="1441252" y="221754"/>
                  <a:pt x="1432024" y="221754"/>
                </a:cubicBezTo>
                <a:cubicBezTo>
                  <a:pt x="1415753" y="221754"/>
                  <a:pt x="1402928" y="217339"/>
                  <a:pt x="1393552" y="208508"/>
                </a:cubicBezTo>
                <a:cubicBezTo>
                  <a:pt x="1384176" y="199678"/>
                  <a:pt x="1379488" y="188516"/>
                  <a:pt x="1379488" y="175022"/>
                </a:cubicBezTo>
                <a:cubicBezTo>
                  <a:pt x="1379488" y="166092"/>
                  <a:pt x="1381621" y="158130"/>
                  <a:pt x="1385888" y="151135"/>
                </a:cubicBezTo>
                <a:cubicBezTo>
                  <a:pt x="1390154" y="144140"/>
                  <a:pt x="1396132" y="138782"/>
                  <a:pt x="1403821" y="135062"/>
                </a:cubicBezTo>
                <a:cubicBezTo>
                  <a:pt x="1411511" y="131341"/>
                  <a:pt x="1422599" y="128092"/>
                  <a:pt x="1437085" y="125313"/>
                </a:cubicBezTo>
                <a:cubicBezTo>
                  <a:pt x="1456631" y="121642"/>
                  <a:pt x="1470174" y="118219"/>
                  <a:pt x="1477715" y="115044"/>
                </a:cubicBezTo>
                <a:lnTo>
                  <a:pt x="1477715" y="110877"/>
                </a:lnTo>
                <a:cubicBezTo>
                  <a:pt x="1477715" y="102840"/>
                  <a:pt x="1475730" y="97111"/>
                  <a:pt x="1471761" y="93687"/>
                </a:cubicBezTo>
                <a:cubicBezTo>
                  <a:pt x="1467793" y="90264"/>
                  <a:pt x="1460302" y="88553"/>
                  <a:pt x="1449288" y="88553"/>
                </a:cubicBezTo>
                <a:cubicBezTo>
                  <a:pt x="1441847" y="88553"/>
                  <a:pt x="1436043" y="90016"/>
                  <a:pt x="1431875" y="92943"/>
                </a:cubicBezTo>
                <a:cubicBezTo>
                  <a:pt x="1427708" y="95870"/>
                  <a:pt x="1424335" y="101005"/>
                  <a:pt x="1421755" y="108347"/>
                </a:cubicBezTo>
                <a:lnTo>
                  <a:pt x="1383804" y="101501"/>
                </a:lnTo>
                <a:cubicBezTo>
                  <a:pt x="1388071" y="86221"/>
                  <a:pt x="1395413" y="74910"/>
                  <a:pt x="1405831" y="67568"/>
                </a:cubicBezTo>
                <a:cubicBezTo>
                  <a:pt x="1416249" y="60226"/>
                  <a:pt x="1431727" y="56555"/>
                  <a:pt x="1452265" y="56555"/>
                </a:cubicBezTo>
                <a:close/>
                <a:moveTo>
                  <a:pt x="1033463" y="56555"/>
                </a:moveTo>
                <a:cubicBezTo>
                  <a:pt x="1042690" y="56555"/>
                  <a:pt x="1051123" y="58217"/>
                  <a:pt x="1058763" y="61541"/>
                </a:cubicBezTo>
                <a:cubicBezTo>
                  <a:pt x="1066403" y="64864"/>
                  <a:pt x="1072183" y="69106"/>
                  <a:pt x="1076102" y="74265"/>
                </a:cubicBezTo>
                <a:cubicBezTo>
                  <a:pt x="1080021" y="79425"/>
                  <a:pt x="1082749" y="85279"/>
                  <a:pt x="1084287" y="91827"/>
                </a:cubicBezTo>
                <a:cubicBezTo>
                  <a:pt x="1085825" y="98376"/>
                  <a:pt x="1086594" y="107752"/>
                  <a:pt x="1086594" y="119956"/>
                </a:cubicBezTo>
                <a:lnTo>
                  <a:pt x="1086594" y="218182"/>
                </a:lnTo>
                <a:lnTo>
                  <a:pt x="1044773" y="218182"/>
                </a:lnTo>
                <a:lnTo>
                  <a:pt x="1044773" y="137517"/>
                </a:lnTo>
                <a:cubicBezTo>
                  <a:pt x="1044773" y="120452"/>
                  <a:pt x="1043881" y="109414"/>
                  <a:pt x="1042095" y="104403"/>
                </a:cubicBezTo>
                <a:cubicBezTo>
                  <a:pt x="1040309" y="99392"/>
                  <a:pt x="1037407" y="95498"/>
                  <a:pt x="1033388" y="92720"/>
                </a:cubicBezTo>
                <a:cubicBezTo>
                  <a:pt x="1029370" y="89942"/>
                  <a:pt x="1024533" y="88553"/>
                  <a:pt x="1018877" y="88553"/>
                </a:cubicBezTo>
                <a:cubicBezTo>
                  <a:pt x="1011635" y="88553"/>
                  <a:pt x="1005135" y="90537"/>
                  <a:pt x="999381" y="94506"/>
                </a:cubicBezTo>
                <a:cubicBezTo>
                  <a:pt x="993626" y="98475"/>
                  <a:pt x="989682" y="103733"/>
                  <a:pt x="987549" y="110282"/>
                </a:cubicBezTo>
                <a:cubicBezTo>
                  <a:pt x="985416" y="116830"/>
                  <a:pt x="984349" y="128935"/>
                  <a:pt x="984349" y="146596"/>
                </a:cubicBezTo>
                <a:lnTo>
                  <a:pt x="984349" y="218182"/>
                </a:lnTo>
                <a:lnTo>
                  <a:pt x="942529" y="218182"/>
                </a:lnTo>
                <a:lnTo>
                  <a:pt x="942529" y="60127"/>
                </a:lnTo>
                <a:lnTo>
                  <a:pt x="981373" y="60127"/>
                </a:lnTo>
                <a:lnTo>
                  <a:pt x="981373" y="83344"/>
                </a:lnTo>
                <a:cubicBezTo>
                  <a:pt x="995164" y="65485"/>
                  <a:pt x="1012527" y="56555"/>
                  <a:pt x="1033463" y="56555"/>
                </a:cubicBezTo>
                <a:close/>
                <a:moveTo>
                  <a:pt x="833140" y="56555"/>
                </a:moveTo>
                <a:cubicBezTo>
                  <a:pt x="851793" y="56555"/>
                  <a:pt x="865684" y="58762"/>
                  <a:pt x="874812" y="63178"/>
                </a:cubicBezTo>
                <a:cubicBezTo>
                  <a:pt x="883940" y="67593"/>
                  <a:pt x="890364" y="73199"/>
                  <a:pt x="894085" y="79995"/>
                </a:cubicBezTo>
                <a:cubicBezTo>
                  <a:pt x="897806" y="86792"/>
                  <a:pt x="899666" y="99269"/>
                  <a:pt x="899666" y="117426"/>
                </a:cubicBezTo>
                <a:lnTo>
                  <a:pt x="899220" y="166241"/>
                </a:lnTo>
                <a:cubicBezTo>
                  <a:pt x="899220" y="180132"/>
                  <a:pt x="899889" y="190376"/>
                  <a:pt x="901229" y="196974"/>
                </a:cubicBezTo>
                <a:cubicBezTo>
                  <a:pt x="902568" y="203572"/>
                  <a:pt x="905073" y="210642"/>
                  <a:pt x="908745" y="218182"/>
                </a:cubicBezTo>
                <a:lnTo>
                  <a:pt x="867370" y="218182"/>
                </a:lnTo>
                <a:cubicBezTo>
                  <a:pt x="866279" y="215404"/>
                  <a:pt x="864939" y="211287"/>
                  <a:pt x="863352" y="205829"/>
                </a:cubicBezTo>
                <a:cubicBezTo>
                  <a:pt x="862657" y="203349"/>
                  <a:pt x="862161" y="201712"/>
                  <a:pt x="861864" y="200918"/>
                </a:cubicBezTo>
                <a:cubicBezTo>
                  <a:pt x="854720" y="207863"/>
                  <a:pt x="847080" y="213072"/>
                  <a:pt x="838944" y="216545"/>
                </a:cubicBezTo>
                <a:cubicBezTo>
                  <a:pt x="830808" y="220018"/>
                  <a:pt x="822127" y="221754"/>
                  <a:pt x="812899" y="221754"/>
                </a:cubicBezTo>
                <a:cubicBezTo>
                  <a:pt x="796627" y="221754"/>
                  <a:pt x="783803" y="217339"/>
                  <a:pt x="774427" y="208508"/>
                </a:cubicBezTo>
                <a:cubicBezTo>
                  <a:pt x="765051" y="199678"/>
                  <a:pt x="760363" y="188516"/>
                  <a:pt x="760363" y="175022"/>
                </a:cubicBezTo>
                <a:cubicBezTo>
                  <a:pt x="760363" y="166092"/>
                  <a:pt x="762496" y="158130"/>
                  <a:pt x="766763" y="151135"/>
                </a:cubicBezTo>
                <a:cubicBezTo>
                  <a:pt x="771029" y="144140"/>
                  <a:pt x="777007" y="138782"/>
                  <a:pt x="784696" y="135062"/>
                </a:cubicBezTo>
                <a:cubicBezTo>
                  <a:pt x="792386" y="131341"/>
                  <a:pt x="803473" y="128092"/>
                  <a:pt x="817959" y="125313"/>
                </a:cubicBezTo>
                <a:cubicBezTo>
                  <a:pt x="837506" y="121642"/>
                  <a:pt x="851049" y="118219"/>
                  <a:pt x="858590" y="115044"/>
                </a:cubicBezTo>
                <a:lnTo>
                  <a:pt x="858590" y="110877"/>
                </a:lnTo>
                <a:cubicBezTo>
                  <a:pt x="858590" y="102840"/>
                  <a:pt x="856605" y="97111"/>
                  <a:pt x="852637" y="93687"/>
                </a:cubicBezTo>
                <a:cubicBezTo>
                  <a:pt x="848668" y="90264"/>
                  <a:pt x="841177" y="88553"/>
                  <a:pt x="830163" y="88553"/>
                </a:cubicBezTo>
                <a:cubicBezTo>
                  <a:pt x="822722" y="88553"/>
                  <a:pt x="816918" y="90016"/>
                  <a:pt x="812751" y="92943"/>
                </a:cubicBezTo>
                <a:cubicBezTo>
                  <a:pt x="808583" y="95870"/>
                  <a:pt x="805210" y="101005"/>
                  <a:pt x="802630" y="108347"/>
                </a:cubicBezTo>
                <a:lnTo>
                  <a:pt x="764679" y="101501"/>
                </a:lnTo>
                <a:cubicBezTo>
                  <a:pt x="768945" y="86221"/>
                  <a:pt x="776288" y="74910"/>
                  <a:pt x="786706" y="67568"/>
                </a:cubicBezTo>
                <a:cubicBezTo>
                  <a:pt x="797123" y="60226"/>
                  <a:pt x="812602" y="56555"/>
                  <a:pt x="833140" y="56555"/>
                </a:cubicBezTo>
                <a:close/>
                <a:moveTo>
                  <a:pt x="374452" y="56555"/>
                </a:moveTo>
                <a:cubicBezTo>
                  <a:pt x="397966" y="56555"/>
                  <a:pt x="416520" y="64319"/>
                  <a:pt x="430113" y="79846"/>
                </a:cubicBezTo>
                <a:cubicBezTo>
                  <a:pt x="443706" y="95374"/>
                  <a:pt x="450205" y="119162"/>
                  <a:pt x="449610" y="151210"/>
                </a:cubicBezTo>
                <a:lnTo>
                  <a:pt x="344835" y="151210"/>
                </a:lnTo>
                <a:cubicBezTo>
                  <a:pt x="345133" y="163612"/>
                  <a:pt x="348506" y="173261"/>
                  <a:pt x="354955" y="180157"/>
                </a:cubicBezTo>
                <a:cubicBezTo>
                  <a:pt x="361404" y="187052"/>
                  <a:pt x="369441" y="190500"/>
                  <a:pt x="379065" y="190500"/>
                </a:cubicBezTo>
                <a:cubicBezTo>
                  <a:pt x="385614" y="190500"/>
                  <a:pt x="391120" y="188714"/>
                  <a:pt x="395585" y="185142"/>
                </a:cubicBezTo>
                <a:cubicBezTo>
                  <a:pt x="400050" y="181570"/>
                  <a:pt x="403423" y="175816"/>
                  <a:pt x="405706" y="167878"/>
                </a:cubicBezTo>
                <a:lnTo>
                  <a:pt x="447377" y="174873"/>
                </a:lnTo>
                <a:cubicBezTo>
                  <a:pt x="442020" y="190153"/>
                  <a:pt x="433561" y="201786"/>
                  <a:pt x="422002" y="209773"/>
                </a:cubicBezTo>
                <a:cubicBezTo>
                  <a:pt x="410443" y="217761"/>
                  <a:pt x="395982" y="221754"/>
                  <a:pt x="378619" y="221754"/>
                </a:cubicBezTo>
                <a:cubicBezTo>
                  <a:pt x="351135" y="221754"/>
                  <a:pt x="330795" y="212775"/>
                  <a:pt x="317599" y="194816"/>
                </a:cubicBezTo>
                <a:cubicBezTo>
                  <a:pt x="307181" y="180429"/>
                  <a:pt x="301972" y="162272"/>
                  <a:pt x="301972" y="140345"/>
                </a:cubicBezTo>
                <a:cubicBezTo>
                  <a:pt x="301972" y="114151"/>
                  <a:pt x="308818" y="93638"/>
                  <a:pt x="322511" y="78805"/>
                </a:cubicBezTo>
                <a:cubicBezTo>
                  <a:pt x="336203" y="63971"/>
                  <a:pt x="353517" y="56555"/>
                  <a:pt x="374452" y="56555"/>
                </a:cubicBezTo>
                <a:close/>
                <a:moveTo>
                  <a:pt x="44053" y="36910"/>
                </a:moveTo>
                <a:lnTo>
                  <a:pt x="44053" y="181422"/>
                </a:lnTo>
                <a:lnTo>
                  <a:pt x="76944" y="181422"/>
                </a:lnTo>
                <a:cubicBezTo>
                  <a:pt x="89247" y="181422"/>
                  <a:pt x="98127" y="180727"/>
                  <a:pt x="103585" y="179338"/>
                </a:cubicBezTo>
                <a:cubicBezTo>
                  <a:pt x="110728" y="177552"/>
                  <a:pt x="116657" y="174526"/>
                  <a:pt x="121369" y="170260"/>
                </a:cubicBezTo>
                <a:cubicBezTo>
                  <a:pt x="126082" y="165993"/>
                  <a:pt x="129927" y="158973"/>
                  <a:pt x="132904" y="149200"/>
                </a:cubicBezTo>
                <a:cubicBezTo>
                  <a:pt x="135880" y="139427"/>
                  <a:pt x="137369" y="126107"/>
                  <a:pt x="137369" y="109240"/>
                </a:cubicBezTo>
                <a:cubicBezTo>
                  <a:pt x="137369" y="92373"/>
                  <a:pt x="135880" y="79425"/>
                  <a:pt x="132904" y="70396"/>
                </a:cubicBezTo>
                <a:cubicBezTo>
                  <a:pt x="129927" y="61367"/>
                  <a:pt x="125760" y="54322"/>
                  <a:pt x="120402" y="49262"/>
                </a:cubicBezTo>
                <a:cubicBezTo>
                  <a:pt x="115044" y="44202"/>
                  <a:pt x="108248" y="40779"/>
                  <a:pt x="100013" y="38993"/>
                </a:cubicBezTo>
                <a:cubicBezTo>
                  <a:pt x="93861" y="37604"/>
                  <a:pt x="81806" y="36910"/>
                  <a:pt x="63847" y="36910"/>
                </a:cubicBezTo>
                <a:close/>
                <a:moveTo>
                  <a:pt x="606326" y="36314"/>
                </a:moveTo>
                <a:lnTo>
                  <a:pt x="606326" y="86767"/>
                </a:lnTo>
                <a:lnTo>
                  <a:pt x="635199" y="86767"/>
                </a:lnTo>
                <a:cubicBezTo>
                  <a:pt x="652363" y="86767"/>
                  <a:pt x="663029" y="86519"/>
                  <a:pt x="667197" y="86023"/>
                </a:cubicBezTo>
                <a:cubicBezTo>
                  <a:pt x="674737" y="85130"/>
                  <a:pt x="680665" y="82525"/>
                  <a:pt x="684981" y="78209"/>
                </a:cubicBezTo>
                <a:cubicBezTo>
                  <a:pt x="689298" y="73893"/>
                  <a:pt x="691456" y="68213"/>
                  <a:pt x="691456" y="61169"/>
                </a:cubicBezTo>
                <a:cubicBezTo>
                  <a:pt x="691456" y="54422"/>
                  <a:pt x="689595" y="48940"/>
                  <a:pt x="685875" y="44723"/>
                </a:cubicBezTo>
                <a:cubicBezTo>
                  <a:pt x="682154" y="40506"/>
                  <a:pt x="676622" y="37951"/>
                  <a:pt x="669280" y="37058"/>
                </a:cubicBezTo>
                <a:cubicBezTo>
                  <a:pt x="664915" y="36562"/>
                  <a:pt x="652363" y="36314"/>
                  <a:pt x="631627" y="36314"/>
                </a:cubicBezTo>
                <a:close/>
                <a:moveTo>
                  <a:pt x="1122313" y="0"/>
                </a:moveTo>
                <a:lnTo>
                  <a:pt x="1164134" y="0"/>
                </a:lnTo>
                <a:lnTo>
                  <a:pt x="1164134" y="115788"/>
                </a:lnTo>
                <a:lnTo>
                  <a:pt x="1213098" y="60127"/>
                </a:lnTo>
                <a:lnTo>
                  <a:pt x="1264593" y="60127"/>
                </a:lnTo>
                <a:lnTo>
                  <a:pt x="1210568" y="117872"/>
                </a:lnTo>
                <a:lnTo>
                  <a:pt x="1268462" y="218182"/>
                </a:lnTo>
                <a:lnTo>
                  <a:pt x="1223367" y="218182"/>
                </a:lnTo>
                <a:lnTo>
                  <a:pt x="1183630" y="147191"/>
                </a:lnTo>
                <a:lnTo>
                  <a:pt x="1164134" y="167581"/>
                </a:lnTo>
                <a:lnTo>
                  <a:pt x="1164134" y="218182"/>
                </a:lnTo>
                <a:lnTo>
                  <a:pt x="1122313" y="218182"/>
                </a:lnTo>
                <a:close/>
                <a:moveTo>
                  <a:pt x="562273" y="0"/>
                </a:moveTo>
                <a:lnTo>
                  <a:pt x="649486" y="0"/>
                </a:lnTo>
                <a:cubicBezTo>
                  <a:pt x="666750" y="0"/>
                  <a:pt x="679624" y="720"/>
                  <a:pt x="688107" y="2158"/>
                </a:cubicBezTo>
                <a:cubicBezTo>
                  <a:pt x="696590" y="3597"/>
                  <a:pt x="704180" y="6598"/>
                  <a:pt x="710878" y="11162"/>
                </a:cubicBezTo>
                <a:cubicBezTo>
                  <a:pt x="717575" y="15726"/>
                  <a:pt x="723156" y="21803"/>
                  <a:pt x="727621" y="29394"/>
                </a:cubicBezTo>
                <a:cubicBezTo>
                  <a:pt x="732086" y="36984"/>
                  <a:pt x="734318" y="45492"/>
                  <a:pt x="734318" y="54918"/>
                </a:cubicBezTo>
                <a:cubicBezTo>
                  <a:pt x="734318" y="65137"/>
                  <a:pt x="731565" y="74513"/>
                  <a:pt x="726058" y="83046"/>
                </a:cubicBezTo>
                <a:cubicBezTo>
                  <a:pt x="720551" y="91579"/>
                  <a:pt x="713085" y="97979"/>
                  <a:pt x="703659" y="102245"/>
                </a:cubicBezTo>
                <a:cubicBezTo>
                  <a:pt x="716955" y="106115"/>
                  <a:pt x="727174" y="112713"/>
                  <a:pt x="734318" y="122039"/>
                </a:cubicBezTo>
                <a:cubicBezTo>
                  <a:pt x="741462" y="131366"/>
                  <a:pt x="745034" y="142329"/>
                  <a:pt x="745034" y="154930"/>
                </a:cubicBezTo>
                <a:cubicBezTo>
                  <a:pt x="745034" y="164852"/>
                  <a:pt x="742727" y="174501"/>
                  <a:pt x="738113" y="183877"/>
                </a:cubicBezTo>
                <a:cubicBezTo>
                  <a:pt x="733499" y="193253"/>
                  <a:pt x="727199" y="200744"/>
                  <a:pt x="719212" y="206350"/>
                </a:cubicBezTo>
                <a:cubicBezTo>
                  <a:pt x="711225" y="211956"/>
                  <a:pt x="701377" y="215404"/>
                  <a:pt x="689670" y="216694"/>
                </a:cubicBezTo>
                <a:cubicBezTo>
                  <a:pt x="682327" y="217488"/>
                  <a:pt x="664617" y="217984"/>
                  <a:pt x="636538" y="218182"/>
                </a:cubicBezTo>
                <a:lnTo>
                  <a:pt x="562273" y="218182"/>
                </a:lnTo>
                <a:close/>
                <a:moveTo>
                  <a:pt x="218926" y="0"/>
                </a:moveTo>
                <a:lnTo>
                  <a:pt x="260747" y="0"/>
                </a:lnTo>
                <a:lnTo>
                  <a:pt x="260747" y="38695"/>
                </a:lnTo>
                <a:lnTo>
                  <a:pt x="218926" y="38695"/>
                </a:lnTo>
                <a:close/>
                <a:moveTo>
                  <a:pt x="0" y="0"/>
                </a:moveTo>
                <a:lnTo>
                  <a:pt x="80516" y="0"/>
                </a:lnTo>
                <a:cubicBezTo>
                  <a:pt x="98673" y="0"/>
                  <a:pt x="112514" y="1389"/>
                  <a:pt x="122039" y="4167"/>
                </a:cubicBezTo>
                <a:cubicBezTo>
                  <a:pt x="134838" y="7938"/>
                  <a:pt x="145802" y="14635"/>
                  <a:pt x="154930" y="24259"/>
                </a:cubicBezTo>
                <a:cubicBezTo>
                  <a:pt x="164058" y="33883"/>
                  <a:pt x="171004" y="45666"/>
                  <a:pt x="175766" y="59606"/>
                </a:cubicBezTo>
                <a:cubicBezTo>
                  <a:pt x="180529" y="73546"/>
                  <a:pt x="182910" y="90736"/>
                  <a:pt x="182910" y="111175"/>
                </a:cubicBezTo>
                <a:cubicBezTo>
                  <a:pt x="182910" y="129133"/>
                  <a:pt x="180677" y="144612"/>
                  <a:pt x="176213" y="157609"/>
                </a:cubicBezTo>
                <a:cubicBezTo>
                  <a:pt x="170755" y="173484"/>
                  <a:pt x="162967" y="186333"/>
                  <a:pt x="152847" y="196156"/>
                </a:cubicBezTo>
                <a:cubicBezTo>
                  <a:pt x="145207" y="203597"/>
                  <a:pt x="134888" y="209401"/>
                  <a:pt x="121890" y="213569"/>
                </a:cubicBezTo>
                <a:cubicBezTo>
                  <a:pt x="112167" y="216644"/>
                  <a:pt x="99169" y="218182"/>
                  <a:pt x="82897" y="218182"/>
                </a:cubicBezTo>
                <a:lnTo>
                  <a:pt x="0" y="2181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noProof="0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8E073262-D595-42F0-9DF0-3D082AFDAA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13825" y="4868863"/>
            <a:ext cx="3742678" cy="1289486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36575" algn="l"/>
              </a:tabLst>
              <a:defRPr sz="1200" b="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First text level</a:t>
            </a:r>
          </a:p>
        </p:txBody>
      </p:sp>
    </p:spTree>
    <p:extLst>
      <p:ext uri="{BB962C8B-B14F-4D97-AF65-F5344CB8AC3E}">
        <p14:creationId xmlns:p14="http://schemas.microsoft.com/office/powerpoint/2010/main" val="19586600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x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388DE1-4495-4DD6-AE8F-CB81EF4B6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A8FABC-34B7-4C47-AF6B-7531796C831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743A2E-9861-42CA-996A-AC0E3E64D73A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C42281-2D18-4ED8-A742-F46088366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F63A14-DD68-4574-8C9B-28B6A6873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1FC0D689-21D1-4F05-B548-5623C98507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6550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6A8E6CF0-88E6-4258-83B1-724B243BC1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250565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C73755DD-5FC0-4227-B564-A663EE50AE7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169025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3190325B-B1A6-40A7-9F37-FEF63E54B2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087485" y="4005263"/>
            <a:ext cx="277177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8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D1E69F50-0D88-4266-A607-C0D3DEE16C6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2771775" cy="2449512"/>
          </a:xfrm>
          <a:noFill/>
        </p:spPr>
        <p:txBody>
          <a:bodyPr lIns="180000" tIns="0" rIns="180000" bIns="72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A337B1F1-4A19-4EF7-8EE9-111AFDBF31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250565" y="1411288"/>
            <a:ext cx="2771775" cy="2449512"/>
          </a:xfrm>
          <a:noFill/>
        </p:spPr>
        <p:txBody>
          <a:bodyPr lIns="180000" tIns="0" rIns="180000" bIns="72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46677117-C9D4-4F34-894D-76590BC42D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169025" y="1411288"/>
            <a:ext cx="2771775" cy="2449512"/>
          </a:xfrm>
          <a:noFill/>
        </p:spPr>
        <p:txBody>
          <a:bodyPr lIns="180000" tIns="0" rIns="180000" bIns="72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6403F5BC-BB18-407E-A22F-B34B8329374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9087485" y="1411288"/>
            <a:ext cx="2771775" cy="2449512"/>
          </a:xfrm>
          <a:noFill/>
        </p:spPr>
        <p:txBody>
          <a:bodyPr lIns="180000" tIns="0" rIns="180000" bIns="72000" anchor="b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42385512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x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388DE1-4495-4DD6-AE8F-CB81EF4B61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A8FABC-34B7-4C47-AF6B-7531796C831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53E65C1-C40B-4E78-8D55-E3E8DE85BB1F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C42281-2D18-4ED8-A742-F46088366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F63A14-DD68-4574-8C9B-28B6A6873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280774" y="6453188"/>
            <a:ext cx="574675" cy="404812"/>
          </a:xfrm>
        </p:spPr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0" noProof="0"/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D7640FDE-7410-4915-92EE-5E96635220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9551" y="1411288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F266778B-D2C6-4F88-99A0-B3CDF5745D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167387" y="1411288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D8FED350-D682-4E24-9FD1-805C63A0EAA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0055224" y="1411288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33" name="Textplatzhalter 14">
            <a:extLst>
              <a:ext uri="{FF2B5EF4-FFF2-40B4-BE49-F238E27FC236}">
                <a16:creationId xmlns:a16="http://schemas.microsoft.com/office/drawing/2014/main" id="{FEDD2576-803F-41A3-8A60-6AF31E78CE6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279551" y="4005263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34" name="Textplatzhalter 14">
            <a:extLst>
              <a:ext uri="{FF2B5EF4-FFF2-40B4-BE49-F238E27FC236}">
                <a16:creationId xmlns:a16="http://schemas.microsoft.com/office/drawing/2014/main" id="{A7FA28E5-D15A-4E79-8C10-420812F0BFC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167387" y="4005263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ED35C739-05BA-4B26-BE5F-409001E94A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0055224" y="4005263"/>
            <a:ext cx="1800225" cy="2447926"/>
          </a:xfrm>
        </p:spPr>
        <p:txBody>
          <a:bodyPr tIns="0" rIns="144000"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1"/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/>
            </a:lvl2pPr>
            <a:lvl3pPr marL="180000">
              <a:defRPr/>
            </a:lvl3pPr>
            <a:lvl4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4pPr>
            <a:lvl5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5pPr>
            <a:lvl6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6pPr>
            <a:lvl7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7pPr>
            <a:lvl8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8pPr>
            <a:lvl9pPr marL="180000" indent="-180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r>
              <a:rPr lang="en-GB" noProof="0" dirty="0"/>
              <a:t>Details</a:t>
            </a:r>
          </a:p>
          <a:p>
            <a:pPr lvl="3"/>
            <a:endParaRPr lang="en-GB" noProof="0" dirty="0"/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2A0F14EC-E67C-4CEB-9064-B5C37F25FEE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36550" y="1411288"/>
            <a:ext cx="1799009" cy="1585912"/>
          </a:xfrm>
          <a:noFill/>
        </p:spPr>
        <p:txBody>
          <a:bodyPr lIns="180000" tIns="0" rIns="180000" bIns="0" anchor="ctr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23" name="Bildplatzhalter 8">
            <a:extLst>
              <a:ext uri="{FF2B5EF4-FFF2-40B4-BE49-F238E27FC236}">
                <a16:creationId xmlns:a16="http://schemas.microsoft.com/office/drawing/2014/main" id="{3D8C68FA-9F14-488B-89CF-F0118F2FE4A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24338" y="1411288"/>
            <a:ext cx="1800225" cy="1585912"/>
          </a:xfrm>
          <a:noFill/>
        </p:spPr>
        <p:txBody>
          <a:bodyPr lIns="180000" tIns="0" rIns="180000" bIns="0" anchor="ctr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24" name="Bildplatzhalter 8">
            <a:extLst>
              <a:ext uri="{FF2B5EF4-FFF2-40B4-BE49-F238E27FC236}">
                <a16:creationId xmlns:a16="http://schemas.microsoft.com/office/drawing/2014/main" id="{7C4E8FC6-1913-433E-B2FA-F003C1E0F17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12124" y="1411288"/>
            <a:ext cx="1800299" cy="1585912"/>
          </a:xfrm>
          <a:noFill/>
        </p:spPr>
        <p:txBody>
          <a:bodyPr lIns="180000" tIns="0" rIns="180000" bIns="0" anchor="ctr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25" name="Bildplatzhalter 8">
            <a:extLst>
              <a:ext uri="{FF2B5EF4-FFF2-40B4-BE49-F238E27FC236}">
                <a16:creationId xmlns:a16="http://schemas.microsoft.com/office/drawing/2014/main" id="{1567FCE3-A1E0-47B6-BC6D-6D73CCE2F0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36550" y="4005263"/>
            <a:ext cx="1799010" cy="1583977"/>
          </a:xfrm>
          <a:noFill/>
        </p:spPr>
        <p:txBody>
          <a:bodyPr lIns="180000" tIns="0" rIns="180000" bIns="0" anchor="ctr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27" name="Bildplatzhalter 8">
            <a:extLst>
              <a:ext uri="{FF2B5EF4-FFF2-40B4-BE49-F238E27FC236}">
                <a16:creationId xmlns:a16="http://schemas.microsoft.com/office/drawing/2014/main" id="{AA9C84AD-B511-4C18-B8C5-324B7554609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24338" y="4005263"/>
            <a:ext cx="1800225" cy="1584325"/>
          </a:xfrm>
          <a:noFill/>
        </p:spPr>
        <p:txBody>
          <a:bodyPr lIns="180000" tIns="0" rIns="180000" bIns="0" anchor="ctr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  <p:sp>
        <p:nvSpPr>
          <p:cNvPr id="28" name="Bildplatzhalter 8">
            <a:extLst>
              <a:ext uri="{FF2B5EF4-FFF2-40B4-BE49-F238E27FC236}">
                <a16:creationId xmlns:a16="http://schemas.microsoft.com/office/drawing/2014/main" id="{FBAE3D42-E4E0-41B5-8FD6-8C4C5EF9C4E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12125" y="4005263"/>
            <a:ext cx="1800299" cy="1583977"/>
          </a:xfrm>
          <a:noFill/>
        </p:spPr>
        <p:txBody>
          <a:bodyPr lIns="180000" tIns="0" rIns="180000" bIns="0" anchor="ctr"/>
          <a:lstStyle>
            <a:lvl1pPr marL="0" indent="0" algn="ctr">
              <a:spcBef>
                <a:spcPts val="0"/>
              </a:spcBef>
              <a:buNone/>
              <a:defRPr sz="800">
                <a:solidFill>
                  <a:schemeClr val="accent4"/>
                </a:solidFill>
              </a:defRPr>
            </a:lvl1pPr>
          </a:lstStyle>
          <a:p>
            <a:pPr marL="0" lvl="0" algn="ctr">
              <a:buNone/>
            </a:pPr>
            <a:r>
              <a:rPr lang="en-GB" noProof="0" dirty="0"/>
              <a:t>Insert a picture by clicking on the icon. </a:t>
            </a: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Alternatively, you can copy an image to the clipboard, select the placeholder and click paste. </a:t>
            </a:r>
          </a:p>
        </p:txBody>
      </p:sp>
    </p:spTree>
    <p:extLst>
      <p:ext uri="{BB962C8B-B14F-4D97-AF65-F5344CB8AC3E}">
        <p14:creationId xmlns:p14="http://schemas.microsoft.com/office/powerpoint/2010/main" val="7403214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516798-E4B4-4414-AB3E-3093739846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336550" y="692305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E3FA924A-9278-42CA-9B2F-55BC962728A6}" type="datetime1">
              <a:rPr lang="en-GB" noProof="0" smtClean="0"/>
              <a:t>26/05/2023</a:t>
            </a:fld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ABE745-C331-4E9F-83AF-E0923547A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336550" y="692305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GB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EC9D6A-EEDB-4842-8E50-B62D4608E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336550" y="692305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FA8E9EB-2F9F-B47C-9C9C-68E97DD93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tretch/>
        </p:blipFill>
        <p:spPr>
          <a:xfrm>
            <a:off x="4969566" y="2678044"/>
            <a:ext cx="2252868" cy="150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9286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Petro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B516798-E4B4-4414-AB3E-3093739846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>
          <a:xfrm>
            <a:off x="336550" y="692305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2EFD6053-5378-4E61-B471-563211987059}" type="datetime1">
              <a:rPr lang="en-GB" noProof="0" smtClean="0"/>
              <a:t>26/05/2023</a:t>
            </a:fld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ABE745-C331-4E9F-83AF-E0923547A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>
          <a:xfrm>
            <a:off x="336550" y="692305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GB" noProof="0"/>
              <a:t>Commerzbank AG, Max Mustermann, GM-C Brand Management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EC9D6A-EEDB-4842-8E50-B62D4608E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>
          <a:xfrm>
            <a:off x="336550" y="6923056"/>
            <a:ext cx="0" cy="0"/>
          </a:xfr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CAEFDB47-5D1C-45E7-8BD0-EF74349B00F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DA27F47-5904-3A07-9591-C753596C02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969564" y="2678047"/>
            <a:ext cx="2252861" cy="1501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2650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20487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Use </a:t>
            </a:r>
            <a:r>
              <a:rPr lang="en-GB" noProof="0" dirty="0" err="1"/>
              <a:t>this</a:t>
            </a:r>
            <a:r>
              <a:rPr lang="en-GB" noProof="0" dirty="0"/>
              <a:t> </a:t>
            </a:r>
            <a:r>
              <a:rPr lang="en-GB" noProof="0" dirty="0" err="1"/>
              <a:t>slide</a:t>
            </a:r>
            <a:r>
              <a:rPr lang="en-GB" noProof="0" dirty="0"/>
              <a:t> </a:t>
            </a:r>
            <a:r>
              <a:rPr lang="en-GB" noProof="0" dirty="0" err="1"/>
              <a:t>to</a:t>
            </a:r>
            <a:r>
              <a:rPr lang="en-GB" noProof="0" dirty="0"/>
              <a:t> divide different </a:t>
            </a:r>
            <a:r>
              <a:rPr lang="en-GB" noProof="0" dirty="0" err="1"/>
              <a:t>chapters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3251200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hapter </a:t>
            </a:r>
            <a:r>
              <a:rPr lang="en-GB" noProof="0" dirty="0" err="1"/>
              <a:t>No</a:t>
            </a:r>
            <a:r>
              <a:rPr lang="en-GB" noProof="0" dirty="0"/>
              <a:t>. #</a:t>
            </a:r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inv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5C3896E8-F4D3-489E-A816-530F0CB0C7A5}"/>
              </a:ext>
            </a:extLst>
          </p:cNvPr>
          <p:cNvSpPr>
            <a:spLocks/>
          </p:cNvSpPr>
          <p:nvPr userDrawn="1"/>
        </p:nvSpPr>
        <p:spPr bwMode="invGray">
          <a:xfrm>
            <a:off x="11522271" y="260351"/>
            <a:ext cx="332854" cy="288924"/>
          </a:xfrm>
          <a:custGeom>
            <a:avLst/>
            <a:gdLst>
              <a:gd name="connsiteX0" fmla="*/ 22842 w 290316"/>
              <a:gd name="connsiteY0" fmla="*/ 173895 h 252000"/>
              <a:gd name="connsiteX1" fmla="*/ 33802 w 290316"/>
              <a:gd name="connsiteY1" fmla="*/ 177405 h 252000"/>
              <a:gd name="connsiteX2" fmla="*/ 53093 w 290316"/>
              <a:gd name="connsiteY2" fmla="*/ 181793 h 252000"/>
              <a:gd name="connsiteX3" fmla="*/ 78082 w 290316"/>
              <a:gd name="connsiteY3" fmla="*/ 183548 h 252000"/>
              <a:gd name="connsiteX4" fmla="*/ 145159 w 290316"/>
              <a:gd name="connsiteY4" fmla="*/ 183548 h 252000"/>
              <a:gd name="connsiteX5" fmla="*/ 212237 w 290316"/>
              <a:gd name="connsiteY5" fmla="*/ 183548 h 252000"/>
              <a:gd name="connsiteX6" fmla="*/ 222759 w 290316"/>
              <a:gd name="connsiteY6" fmla="*/ 183548 h 252000"/>
              <a:gd name="connsiteX7" fmla="*/ 227581 w 290316"/>
              <a:gd name="connsiteY7" fmla="*/ 197590 h 252000"/>
              <a:gd name="connsiteX8" fmla="*/ 231965 w 290316"/>
              <a:gd name="connsiteY8" fmla="*/ 227428 h 252000"/>
              <a:gd name="connsiteX9" fmla="*/ 225827 w 290316"/>
              <a:gd name="connsiteY9" fmla="*/ 246296 h 252000"/>
              <a:gd name="connsiteX10" fmla="*/ 222320 w 290316"/>
              <a:gd name="connsiteY10" fmla="*/ 252000 h 252000"/>
              <a:gd name="connsiteX11" fmla="*/ 145159 w 290316"/>
              <a:gd name="connsiteY11" fmla="*/ 252000 h 252000"/>
              <a:gd name="connsiteX12" fmla="*/ 67999 w 290316"/>
              <a:gd name="connsiteY12" fmla="*/ 252000 h 252000"/>
              <a:gd name="connsiteX13" fmla="*/ 22842 w 290316"/>
              <a:gd name="connsiteY13" fmla="*/ 173895 h 252000"/>
              <a:gd name="connsiteX14" fmla="*/ 206598 w 290316"/>
              <a:gd name="connsiteY14" fmla="*/ 0 h 252000"/>
              <a:gd name="connsiteX15" fmla="*/ 213173 w 290316"/>
              <a:gd name="connsiteY15" fmla="*/ 0 h 252000"/>
              <a:gd name="connsiteX16" fmla="*/ 290316 w 290316"/>
              <a:gd name="connsiteY16" fmla="*/ 133888 h 252000"/>
              <a:gd name="connsiteX17" fmla="*/ 245608 w 290316"/>
              <a:gd name="connsiteY17" fmla="*/ 212026 h 252000"/>
              <a:gd name="connsiteX18" fmla="*/ 243416 w 290316"/>
              <a:gd name="connsiteY18" fmla="*/ 200613 h 252000"/>
              <a:gd name="connsiteX19" fmla="*/ 237280 w 290316"/>
              <a:gd name="connsiteY19" fmla="*/ 181737 h 252000"/>
              <a:gd name="connsiteX20" fmla="*/ 226322 w 290316"/>
              <a:gd name="connsiteY20" fmla="*/ 158910 h 252000"/>
              <a:gd name="connsiteX21" fmla="*/ 193010 w 290316"/>
              <a:gd name="connsiteY21" fmla="*/ 100965 h 252000"/>
              <a:gd name="connsiteX22" fmla="*/ 159260 w 290316"/>
              <a:gd name="connsiteY22" fmla="*/ 43020 h 252000"/>
              <a:gd name="connsiteX23" fmla="*/ 154000 w 290316"/>
              <a:gd name="connsiteY23" fmla="*/ 33801 h 252000"/>
              <a:gd name="connsiteX24" fmla="*/ 163643 w 290316"/>
              <a:gd name="connsiteY24" fmla="*/ 22388 h 252000"/>
              <a:gd name="connsiteX25" fmla="*/ 187312 w 290316"/>
              <a:gd name="connsiteY25" fmla="*/ 3951 h 252000"/>
              <a:gd name="connsiteX26" fmla="*/ 206598 w 290316"/>
              <a:gd name="connsiteY26" fmla="*/ 0 h 252000"/>
              <a:gd name="connsiteX27" fmla="*/ 77181 w 290316"/>
              <a:gd name="connsiteY27" fmla="*/ 0 h 252000"/>
              <a:gd name="connsiteX28" fmla="*/ 167079 w 290316"/>
              <a:gd name="connsiteY28" fmla="*/ 0 h 252000"/>
              <a:gd name="connsiteX29" fmla="*/ 158308 w 290316"/>
              <a:gd name="connsiteY29" fmla="*/ 7901 h 252000"/>
              <a:gd name="connsiteX30" fmla="*/ 145153 w 290316"/>
              <a:gd name="connsiteY30" fmla="*/ 22386 h 252000"/>
              <a:gd name="connsiteX31" fmla="*/ 131120 w 290316"/>
              <a:gd name="connsiteY31" fmla="*/ 43016 h 252000"/>
              <a:gd name="connsiteX32" fmla="*/ 97353 w 290316"/>
              <a:gd name="connsiteY32" fmla="*/ 100956 h 252000"/>
              <a:gd name="connsiteX33" fmla="*/ 63586 w 290316"/>
              <a:gd name="connsiteY33" fmla="*/ 158896 h 252000"/>
              <a:gd name="connsiteX34" fmla="*/ 58763 w 290316"/>
              <a:gd name="connsiteY34" fmla="*/ 168553 h 252000"/>
              <a:gd name="connsiteX35" fmla="*/ 43853 w 290316"/>
              <a:gd name="connsiteY35" fmla="*/ 165480 h 252000"/>
              <a:gd name="connsiteX36" fmla="*/ 16226 w 290316"/>
              <a:gd name="connsiteY36" fmla="*/ 154068 h 252000"/>
              <a:gd name="connsiteX37" fmla="*/ 3070 w 290316"/>
              <a:gd name="connsiteY37" fmla="*/ 139583 h 252000"/>
              <a:gd name="connsiteX38" fmla="*/ 0 w 290316"/>
              <a:gd name="connsiteY38" fmla="*/ 133877 h 252000"/>
              <a:gd name="connsiteX39" fmla="*/ 2193 w 290316"/>
              <a:gd name="connsiteY39" fmla="*/ 129926 h 252000"/>
              <a:gd name="connsiteX40" fmla="*/ 77181 w 290316"/>
              <a:gd name="connsiteY40" fmla="*/ 0 h 2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90316" h="252000">
                <a:moveTo>
                  <a:pt x="22842" y="173895"/>
                </a:moveTo>
                <a:cubicBezTo>
                  <a:pt x="25911" y="175211"/>
                  <a:pt x="29857" y="176528"/>
                  <a:pt x="33802" y="177405"/>
                </a:cubicBezTo>
                <a:cubicBezTo>
                  <a:pt x="39063" y="178722"/>
                  <a:pt x="50024" y="181354"/>
                  <a:pt x="53093" y="181793"/>
                </a:cubicBezTo>
                <a:cubicBezTo>
                  <a:pt x="63176" y="183548"/>
                  <a:pt x="72383" y="183548"/>
                  <a:pt x="78082" y="183548"/>
                </a:cubicBezTo>
                <a:cubicBezTo>
                  <a:pt x="78082" y="183548"/>
                  <a:pt x="78082" y="183548"/>
                  <a:pt x="145159" y="183548"/>
                </a:cubicBezTo>
                <a:cubicBezTo>
                  <a:pt x="145159" y="183548"/>
                  <a:pt x="145159" y="183548"/>
                  <a:pt x="212237" y="183548"/>
                </a:cubicBezTo>
                <a:cubicBezTo>
                  <a:pt x="214867" y="183548"/>
                  <a:pt x="218374" y="183548"/>
                  <a:pt x="222759" y="183548"/>
                </a:cubicBezTo>
                <a:cubicBezTo>
                  <a:pt x="224512" y="188814"/>
                  <a:pt x="227581" y="197151"/>
                  <a:pt x="227581" y="197590"/>
                </a:cubicBezTo>
                <a:cubicBezTo>
                  <a:pt x="231527" y="208121"/>
                  <a:pt x="232842" y="218213"/>
                  <a:pt x="231965" y="227428"/>
                </a:cubicBezTo>
                <a:cubicBezTo>
                  <a:pt x="230650" y="236204"/>
                  <a:pt x="227581" y="242347"/>
                  <a:pt x="225827" y="246296"/>
                </a:cubicBezTo>
                <a:lnTo>
                  <a:pt x="222320" y="252000"/>
                </a:lnTo>
                <a:cubicBezTo>
                  <a:pt x="222320" y="252000"/>
                  <a:pt x="222320" y="252000"/>
                  <a:pt x="145159" y="252000"/>
                </a:cubicBezTo>
                <a:cubicBezTo>
                  <a:pt x="145159" y="252000"/>
                  <a:pt x="145159" y="252000"/>
                  <a:pt x="67999" y="252000"/>
                </a:cubicBezTo>
                <a:cubicBezTo>
                  <a:pt x="67999" y="252000"/>
                  <a:pt x="67999" y="252000"/>
                  <a:pt x="22842" y="173895"/>
                </a:cubicBezTo>
                <a:close/>
                <a:moveTo>
                  <a:pt x="206598" y="0"/>
                </a:moveTo>
                <a:cubicBezTo>
                  <a:pt x="206598" y="0"/>
                  <a:pt x="206598" y="0"/>
                  <a:pt x="213173" y="0"/>
                </a:cubicBezTo>
                <a:cubicBezTo>
                  <a:pt x="213173" y="0"/>
                  <a:pt x="213173" y="0"/>
                  <a:pt x="290316" y="133888"/>
                </a:cubicBezTo>
                <a:cubicBezTo>
                  <a:pt x="290316" y="133888"/>
                  <a:pt x="290316" y="133888"/>
                  <a:pt x="245608" y="212026"/>
                </a:cubicBezTo>
                <a:cubicBezTo>
                  <a:pt x="244731" y="208514"/>
                  <a:pt x="244293" y="204563"/>
                  <a:pt x="243416" y="200613"/>
                </a:cubicBezTo>
                <a:cubicBezTo>
                  <a:pt x="241663" y="195345"/>
                  <a:pt x="238157" y="184370"/>
                  <a:pt x="237280" y="181737"/>
                </a:cubicBezTo>
                <a:cubicBezTo>
                  <a:pt x="233773" y="172079"/>
                  <a:pt x="228952" y="164178"/>
                  <a:pt x="226322" y="158910"/>
                </a:cubicBezTo>
                <a:cubicBezTo>
                  <a:pt x="214926" y="139156"/>
                  <a:pt x="193010" y="100965"/>
                  <a:pt x="193010" y="100965"/>
                </a:cubicBezTo>
                <a:cubicBezTo>
                  <a:pt x="193010" y="100965"/>
                  <a:pt x="170656" y="62774"/>
                  <a:pt x="159260" y="43020"/>
                </a:cubicBezTo>
                <a:cubicBezTo>
                  <a:pt x="157945" y="40386"/>
                  <a:pt x="156192" y="37313"/>
                  <a:pt x="154000" y="33801"/>
                </a:cubicBezTo>
                <a:cubicBezTo>
                  <a:pt x="157507" y="29412"/>
                  <a:pt x="163205" y="23266"/>
                  <a:pt x="163643" y="22388"/>
                </a:cubicBezTo>
                <a:cubicBezTo>
                  <a:pt x="170656" y="14047"/>
                  <a:pt x="178984" y="7902"/>
                  <a:pt x="187312" y="3951"/>
                </a:cubicBezTo>
                <a:cubicBezTo>
                  <a:pt x="195202" y="878"/>
                  <a:pt x="202215" y="0"/>
                  <a:pt x="206598" y="0"/>
                </a:cubicBezTo>
                <a:close/>
                <a:moveTo>
                  <a:pt x="77181" y="0"/>
                </a:moveTo>
                <a:cubicBezTo>
                  <a:pt x="77181" y="0"/>
                  <a:pt x="77181" y="0"/>
                  <a:pt x="167079" y="0"/>
                </a:cubicBezTo>
                <a:cubicBezTo>
                  <a:pt x="164009" y="2195"/>
                  <a:pt x="161378" y="4828"/>
                  <a:pt x="158308" y="7901"/>
                </a:cubicBezTo>
                <a:cubicBezTo>
                  <a:pt x="154362" y="11412"/>
                  <a:pt x="147345" y="19752"/>
                  <a:pt x="145153" y="22386"/>
                </a:cubicBezTo>
                <a:cubicBezTo>
                  <a:pt x="138575" y="30287"/>
                  <a:pt x="133751" y="37749"/>
                  <a:pt x="131120" y="43016"/>
                </a:cubicBezTo>
                <a:cubicBezTo>
                  <a:pt x="119279" y="62768"/>
                  <a:pt x="97353" y="100956"/>
                  <a:pt x="97353" y="100956"/>
                </a:cubicBezTo>
                <a:cubicBezTo>
                  <a:pt x="97353" y="100956"/>
                  <a:pt x="75427" y="139144"/>
                  <a:pt x="63586" y="158896"/>
                </a:cubicBezTo>
                <a:cubicBezTo>
                  <a:pt x="62271" y="161530"/>
                  <a:pt x="60955" y="164603"/>
                  <a:pt x="58763" y="168553"/>
                </a:cubicBezTo>
                <a:cubicBezTo>
                  <a:pt x="53062" y="167236"/>
                  <a:pt x="44730" y="165919"/>
                  <a:pt x="43853" y="165480"/>
                </a:cubicBezTo>
                <a:cubicBezTo>
                  <a:pt x="32890" y="163725"/>
                  <a:pt x="23680" y="159774"/>
                  <a:pt x="16226" y="154068"/>
                </a:cubicBezTo>
                <a:cubicBezTo>
                  <a:pt x="9209" y="148801"/>
                  <a:pt x="5262" y="143095"/>
                  <a:pt x="3070" y="139583"/>
                </a:cubicBezTo>
                <a:cubicBezTo>
                  <a:pt x="3070" y="139583"/>
                  <a:pt x="3070" y="139583"/>
                  <a:pt x="0" y="133877"/>
                </a:cubicBezTo>
                <a:cubicBezTo>
                  <a:pt x="0" y="133877"/>
                  <a:pt x="0" y="133877"/>
                  <a:pt x="2193" y="129926"/>
                </a:cubicBezTo>
                <a:cubicBezTo>
                  <a:pt x="2193" y="129926"/>
                  <a:pt x="2193" y="129926"/>
                  <a:pt x="7718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3DEDE0-3E07-4627-AD96-C6063050C4D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8B2B2A9-FB85-4888-AF7D-1162E493FAC8}" type="datetime1">
              <a:rPr lang="en-GB" smtClean="0"/>
              <a:pPr/>
              <a:t>26/05/2023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F8C092-A49F-4DD6-8F20-B661BFC69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E0284-754D-4AA2-B034-1CF352966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AEFDB47-5D1C-45E7-8BD0-EF74349B00F7}" type="slidenum">
              <a:rPr lang="en-GB" smtClean="0"/>
              <a:pPr/>
              <a:t>‹#›</a:t>
            </a:fld>
            <a:endParaRPr lang="en-GB" b="1"/>
          </a:p>
        </p:txBody>
      </p:sp>
    </p:spTree>
    <p:extLst>
      <p:ext uri="{BB962C8B-B14F-4D97-AF65-F5344CB8AC3E}">
        <p14:creationId xmlns:p14="http://schemas.microsoft.com/office/powerpoint/2010/main" val="13297854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Petrol /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36550" y="1412874"/>
            <a:ext cx="11520488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Use </a:t>
            </a:r>
            <a:r>
              <a:rPr lang="en-GB" noProof="0" dirty="0" err="1"/>
              <a:t>this</a:t>
            </a:r>
            <a:r>
              <a:rPr lang="en-GB" noProof="0" dirty="0"/>
              <a:t> </a:t>
            </a:r>
            <a:r>
              <a:rPr lang="en-GB" noProof="0" dirty="0" err="1"/>
              <a:t>slide</a:t>
            </a:r>
            <a:r>
              <a:rPr lang="en-GB" noProof="0" dirty="0"/>
              <a:t> </a:t>
            </a:r>
            <a:r>
              <a:rPr lang="en-GB" noProof="0" dirty="0" err="1"/>
              <a:t>to</a:t>
            </a:r>
            <a:r>
              <a:rPr lang="en-GB" noProof="0" dirty="0"/>
              <a:t> divide different </a:t>
            </a:r>
            <a:r>
              <a:rPr lang="en-GB" noProof="0" dirty="0" err="1"/>
              <a:t>chapters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3251684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hapter </a:t>
            </a:r>
            <a:r>
              <a:rPr lang="en-GB" noProof="0" dirty="0" err="1"/>
              <a:t>No</a:t>
            </a:r>
            <a:r>
              <a:rPr lang="en-GB" noProof="0" dirty="0"/>
              <a:t>. #</a:t>
            </a:r>
          </a:p>
        </p:txBody>
      </p:sp>
      <p:sp>
        <p:nvSpPr>
          <p:cNvPr id="12" name="Google Shape;192;p37">
            <a:extLst>
              <a:ext uri="{FF2B5EF4-FFF2-40B4-BE49-F238E27FC236}">
                <a16:creationId xmlns:a16="http://schemas.microsoft.com/office/drawing/2014/main" id="{A89D66A7-79C9-49DD-B8D8-7E63C48072E6}"/>
              </a:ext>
            </a:extLst>
          </p:cNvPr>
          <p:cNvSpPr/>
          <p:nvPr userDrawn="1"/>
        </p:nvSpPr>
        <p:spPr bwMode="inv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D31473-88F9-4CEE-AEF0-7B7AB8363EA6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238347-AAA3-4A39-97BB-B0CEBFB96F70}" type="datetime1">
              <a:rPr lang="en-GB" noProof="0" smtClean="0"/>
              <a:t>26/05/2023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676F9B-52E6-466E-9EB1-5E81CDC23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FE0B6A-A753-45D4-9CE4-04A49176B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EFDB47-5D1C-45E7-8BD0-EF74349B00F7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26678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A50A06-F1AD-43B0-B0C8-484379FAC6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36550" y="1412874"/>
            <a:ext cx="11520487" cy="3311525"/>
          </a:xfrm>
        </p:spPr>
        <p:txBody>
          <a:bodyPr rIns="0" bIns="144000" anchor="b"/>
          <a:lstStyle>
            <a:lvl1pPr algn="ctr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Use </a:t>
            </a:r>
            <a:r>
              <a:rPr lang="en-GB" noProof="0" dirty="0" err="1"/>
              <a:t>this</a:t>
            </a:r>
            <a:r>
              <a:rPr lang="en-GB" noProof="0" dirty="0"/>
              <a:t> </a:t>
            </a:r>
            <a:r>
              <a:rPr lang="en-GB" noProof="0" dirty="0" err="1"/>
              <a:t>slide</a:t>
            </a:r>
            <a:r>
              <a:rPr lang="en-GB" noProof="0" dirty="0"/>
              <a:t> </a:t>
            </a:r>
            <a:r>
              <a:rPr lang="en-GB" noProof="0" dirty="0" err="1"/>
              <a:t>as</a:t>
            </a:r>
            <a:r>
              <a:rPr lang="en-GB" noProof="0" dirty="0"/>
              <a:t> a </a:t>
            </a:r>
            <a:r>
              <a:rPr lang="en-GB" noProof="0" dirty="0" err="1"/>
              <a:t>subchapter</a:t>
            </a:r>
            <a:r>
              <a:rPr lang="en-GB" noProof="0" dirty="0"/>
              <a:t> </a:t>
            </a:r>
            <a:r>
              <a:rPr lang="en-GB" noProof="0" dirty="0" err="1"/>
              <a:t>divider</a:t>
            </a:r>
            <a:endParaRPr lang="en-GB" noProof="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52B9B-1FC0-4A8D-A22E-A6CDD92562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251200" y="5445000"/>
            <a:ext cx="5689116" cy="574675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3pPr>
            <a:lvl4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4pPr>
            <a:lvl5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5pPr>
            <a:lvl6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6pPr>
            <a:lvl7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7pPr>
            <a:lvl8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8pPr>
            <a:lvl9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noProof="0" dirty="0"/>
              <a:t>Chapter </a:t>
            </a:r>
            <a:r>
              <a:rPr lang="en-GB" noProof="0" dirty="0" err="1"/>
              <a:t>No</a:t>
            </a:r>
            <a:r>
              <a:rPr lang="en-GB" noProof="0" dirty="0"/>
              <a:t>. #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3DEDE0-3E07-4627-AD96-C6063050C4D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1ADCE3B-C57B-4141-A36B-913D990F5BCD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F8C092-A49F-4DD6-8F20-B661BFC69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1E0284-754D-4AA2-B034-1CF352966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9" name="Google Shape;192;p37">
            <a:extLst>
              <a:ext uri="{FF2B5EF4-FFF2-40B4-BE49-F238E27FC236}">
                <a16:creationId xmlns:a16="http://schemas.microsoft.com/office/drawing/2014/main" id="{6BEF86A6-4188-418C-9CCC-F9615322F4D4}"/>
              </a:ext>
            </a:extLst>
          </p:cNvPr>
          <p:cNvSpPr/>
          <p:nvPr userDrawn="1"/>
        </p:nvSpPr>
        <p:spPr bwMode="gray">
          <a:xfrm>
            <a:off x="5232000" y="4868863"/>
            <a:ext cx="1731102" cy="1424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50" tIns="45700" rIns="914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633706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444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71DDE5-237D-488D-8361-D82FE9E2FA41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DA93A3E2-FB9B-4052-AF1E-79902645456C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3E06A32-B2D9-41C6-BFF1-11EC8ABCC24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CBDD58-EB8B-45A7-A68A-501642F5562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</p:spTree>
    <p:extLst>
      <p:ext uri="{BB962C8B-B14F-4D97-AF65-F5344CB8AC3E}">
        <p14:creationId xmlns:p14="http://schemas.microsoft.com/office/powerpoint/2010/main" val="19834821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3100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010CC23-23F4-43A4-B221-175BB62626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7631106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71DDE5-237D-488D-8361-D82FE9E2FA41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DF290B6F-1A12-4846-B6BE-31BBE1DE34D4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3E06A32-B2D9-41C6-BFF1-11EC8ABCC24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CBDD58-EB8B-45A7-A68A-501642F5562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</p:spTree>
    <p:extLst>
      <p:ext uri="{BB962C8B-B14F-4D97-AF65-F5344CB8AC3E}">
        <p14:creationId xmlns:p14="http://schemas.microsoft.com/office/powerpoint/2010/main" val="14320724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A91C57D-0163-4143-8F9B-841FA758B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803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A91C57D-0163-4143-8F9B-841FA758B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791BBA6-21FB-476D-917A-6AD66B6FA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FA860A-0783-485F-9EA6-396743BDF5B9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168253B7-8A1E-4D82-9D8F-4C906E33FF8A}" type="datetime1">
              <a:rPr lang="en-GB" noProof="0" smtClean="0"/>
              <a:t>26/05/2023</a:t>
            </a:fld>
            <a:endParaRPr lang="en-GB" sz="800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370CD-5645-4A0E-9F7D-68A2A121CDB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pPr algn="ctr"/>
            <a:r>
              <a:rPr lang="en-GB" noProof="0"/>
              <a:t>Commerzbank AG, Max Mustermann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EBB456-7637-44EE-BC10-4EB314D3ADD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CAEFDB47-5D1C-45E7-8BD0-EF74349B00F7}" type="slidenum">
              <a:rPr lang="en-GB" noProof="0" smtClean="0"/>
              <a:pPr/>
              <a:t>‹#›</a:t>
            </a:fld>
            <a:endParaRPr lang="en-GB" b="1" noProof="0"/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DCABA094-C500-47C0-BACF-FF45F71D07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6550" y="1411288"/>
            <a:ext cx="5689116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3C7CA0A3-BDD9-4786-8889-58A40E7C51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166333" y="1411288"/>
            <a:ext cx="5689116" cy="5041901"/>
          </a:xfrm>
        </p:spPr>
        <p:txBody>
          <a:bodyPr rIns="144000"/>
          <a:lstStyle/>
          <a:p>
            <a:r>
              <a:rPr lang="en-GB" dirty="0"/>
              <a:t>First text level</a:t>
            </a:r>
          </a:p>
          <a:p>
            <a:pPr lvl="1"/>
            <a:r>
              <a:rPr lang="en-GB" dirty="0"/>
              <a:t>Second text level</a:t>
            </a:r>
          </a:p>
          <a:p>
            <a:pPr lvl="2"/>
            <a:r>
              <a:rPr lang="en-GB" dirty="0"/>
              <a:t>Third text level</a:t>
            </a:r>
          </a:p>
          <a:p>
            <a:pPr lvl="3"/>
            <a:r>
              <a:rPr lang="en-GB" dirty="0"/>
              <a:t>Fourth text level</a:t>
            </a:r>
          </a:p>
          <a:p>
            <a:pPr lvl="4"/>
            <a:r>
              <a:rPr lang="en-GB" dirty="0"/>
              <a:t>Fifth text level</a:t>
            </a:r>
          </a:p>
          <a:p>
            <a:pPr lvl="5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6162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32C311-42A6-4141-B8B0-3ECECF59F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121917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08" imgH="408" progId="TCLayout.ActiveDocument.1">
                  <p:embed/>
                </p:oleObj>
              </mc:Choice>
              <mc:Fallback>
                <p:oleObj name="think-cell Slide" r:id="rId41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32C311-42A6-4141-B8B0-3ECECF59F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A1953FA-A217-4290-B8B2-F20FA9B85E7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1" y="0"/>
            <a:ext cx="11518898" cy="1123950"/>
          </a:xfrm>
          <a:prstGeom prst="rect">
            <a:avLst/>
          </a:prstGeom>
        </p:spPr>
        <p:txBody>
          <a:bodyPr vert="horz" lIns="0" tIns="216000" rIns="864000" bIns="0" rtlCol="0" anchor="t">
            <a:noAutofit/>
          </a:bodyPr>
          <a:lstStyle/>
          <a:p>
            <a:r>
              <a:rPr lang="en-GB" noProof="0" dirty="0"/>
              <a:t>Click </a:t>
            </a:r>
            <a:r>
              <a:rPr lang="en-GB" noProof="0" dirty="0" err="1"/>
              <a:t>to</a:t>
            </a:r>
            <a:r>
              <a:rPr lang="en-GB" noProof="0" dirty="0"/>
              <a:t> </a:t>
            </a:r>
            <a:r>
              <a:rPr lang="en-GB" noProof="0" dirty="0" err="1"/>
              <a:t>edit</a:t>
            </a:r>
            <a:r>
              <a:rPr lang="en-GB" noProof="0" dirty="0"/>
              <a:t> </a:t>
            </a:r>
            <a:r>
              <a:rPr lang="en-GB" noProof="0" dirty="0" err="1"/>
              <a:t>headlin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6767ADB-5B8A-488F-9884-47CB17F2FFD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6550" y="1411289"/>
            <a:ext cx="7631106" cy="5041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GB" dirty="0"/>
              <a:t>First text level for bullet points</a:t>
            </a:r>
          </a:p>
          <a:p>
            <a:pPr lvl="1"/>
            <a:r>
              <a:rPr lang="en-GB" dirty="0"/>
              <a:t>Second text level for bullet points</a:t>
            </a:r>
          </a:p>
          <a:p>
            <a:pPr lvl="2"/>
            <a:r>
              <a:rPr lang="en-GB" dirty="0"/>
              <a:t>Third text level for bullet points</a:t>
            </a:r>
          </a:p>
          <a:p>
            <a:pPr lvl="3"/>
            <a:r>
              <a:rPr lang="en-GB" dirty="0"/>
              <a:t>Fourth text level for lists</a:t>
            </a:r>
          </a:p>
          <a:p>
            <a:pPr lvl="4"/>
            <a:r>
              <a:rPr lang="en-GB" dirty="0"/>
              <a:t>Fifth text level for lists</a:t>
            </a:r>
          </a:p>
          <a:p>
            <a:pPr lvl="5"/>
            <a:r>
              <a:rPr lang="en-GB" dirty="0"/>
              <a:t>Sixth text level</a:t>
            </a:r>
          </a:p>
          <a:p>
            <a:pPr lvl="6"/>
            <a:r>
              <a:rPr lang="en-GB" dirty="0"/>
              <a:t>Seventh text level</a:t>
            </a:r>
          </a:p>
          <a:p>
            <a:pPr lvl="7"/>
            <a:r>
              <a:rPr lang="en-GB" dirty="0"/>
              <a:t>Eighth text level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37F7AE-BC98-407A-B37E-999E5E7CBE8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36550" y="6453188"/>
            <a:ext cx="863450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2D445D9-64C6-4529-A446-10E9F290DE65}" type="datetime1">
              <a:rPr lang="en-GB" smtClean="0"/>
              <a:t>26/05/2023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7F4CA9-7229-4B54-884E-9BFBB3942C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251684" y="6453188"/>
            <a:ext cx="5689116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ommerzbank AG, Max </a:t>
            </a:r>
            <a:r>
              <a:rPr lang="en-GB" dirty="0" err="1"/>
              <a:t>Mustermann</a:t>
            </a:r>
            <a:r>
              <a:rPr lang="en-GB" dirty="0"/>
              <a:t>, GM-C Brand Management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5EDBD7-0293-448B-8ECC-9B648DDFE8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280774" y="6453188"/>
            <a:ext cx="574675" cy="404812"/>
          </a:xfrm>
          <a:prstGeom prst="rect">
            <a:avLst/>
          </a:prstGeom>
        </p:spPr>
        <p:txBody>
          <a:bodyPr vert="horz" wrap="none" lIns="0" tIns="144000" rIns="0" bIns="0" rtlCol="0" anchor="t"/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CAEFDB47-5D1C-45E7-8BD0-EF74349B00F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34A3088-83DE-FAA7-AFCF-14FAD948BE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3"/>
          <a:srcRect l="21147" r="21147" b="24759"/>
          <a:stretch/>
        </p:blipFill>
        <p:spPr>
          <a:xfrm>
            <a:off x="11522868" y="260261"/>
            <a:ext cx="335757" cy="29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096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9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363" indent="-18097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+mj-lt"/>
        <a:buAutoNum type="alphaL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80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09">
          <p15:clr>
            <a:srgbClr val="F26B43"/>
          </p15:clr>
        </p15:guide>
        <p15:guide id="5" orient="horz" pos="889">
          <p15:clr>
            <a:srgbClr val="F26B43"/>
          </p15:clr>
        </p15:guide>
        <p15:guide id="21" orient="horz" pos="3067">
          <p15:clr>
            <a:srgbClr val="F26B43"/>
          </p15:clr>
        </p15:guide>
        <p15:guide id="23" orient="horz" pos="4065">
          <p15:clr>
            <a:srgbClr val="F26B43"/>
          </p15:clr>
        </p15:guide>
        <p15:guide id="26" pos="212">
          <p15:clr>
            <a:srgbClr val="F26B43"/>
          </p15:clr>
        </p15:guide>
        <p15:guide id="28" pos="3885">
          <p15:clr>
            <a:srgbClr val="F26B43"/>
          </p15:clr>
        </p15:guide>
        <p15:guide id="45" pos="7469">
          <p15:clr>
            <a:srgbClr val="F26B43"/>
          </p15:clr>
        </p15:guide>
        <p15:guide id="46" orient="horz" pos="2976">
          <p15:clr>
            <a:srgbClr val="F26B43"/>
          </p15:clr>
        </p15:guide>
        <p15:guide id="47" orient="horz" pos="2523">
          <p15:clr>
            <a:srgbClr val="F26B43"/>
          </p15:clr>
        </p15:guide>
        <p15:guide id="48" orient="horz" pos="2432">
          <p15:clr>
            <a:srgbClr val="F26B43"/>
          </p15:clr>
        </p15:guide>
        <p15:guide id="49" orient="horz" pos="1979">
          <p15:clr>
            <a:srgbClr val="F26B43"/>
          </p15:clr>
        </p15:guide>
        <p15:guide id="50" orient="horz" pos="1888">
          <p15:clr>
            <a:srgbClr val="F26B43"/>
          </p15:clr>
        </p15:guide>
        <p15:guide id="51" pos="3795">
          <p15:clr>
            <a:srgbClr val="F26B43"/>
          </p15:clr>
        </p15:guide>
        <p15:guide id="52" pos="2661">
          <p15:clr>
            <a:srgbClr val="F26B43"/>
          </p15:clr>
        </p15:guide>
        <p15:guide id="53" pos="2570">
          <p15:clr>
            <a:srgbClr val="F26B43"/>
          </p15:clr>
        </p15:guide>
        <p15:guide id="54" pos="2048">
          <p15:clr>
            <a:srgbClr val="F26B43"/>
          </p15:clr>
        </p15:guide>
        <p15:guide id="55" pos="1958">
          <p15:clr>
            <a:srgbClr val="F26B43"/>
          </p15:clr>
        </p15:guide>
        <p15:guide id="56" pos="5019">
          <p15:clr>
            <a:srgbClr val="F26B43"/>
          </p15:clr>
        </p15:guide>
        <p15:guide id="57" pos="5110">
          <p15:clr>
            <a:srgbClr val="F26B43"/>
          </p15:clr>
        </p15:guide>
        <p15:guide id="58" pos="5632">
          <p15:clr>
            <a:srgbClr val="F26B43"/>
          </p15:clr>
        </p15:guide>
        <p15:guide id="59" pos="57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47F5B507-E0F6-4A47-915B-200EDFDE98A7}"/>
              </a:ext>
            </a:extLst>
          </p:cNvPr>
          <p:cNvSpPr>
            <a:spLocks noGrp="1"/>
          </p:cNvSpPr>
          <p:nvPr>
            <p:ph type="ctrTitle"/>
          </p:nvPr>
        </p:nvSpPr>
        <p:spPr bwMode="invGray">
          <a:xfrm>
            <a:off x="336550" y="1412874"/>
            <a:ext cx="11518895" cy="3311525"/>
          </a:xfrm>
        </p:spPr>
        <p:txBody>
          <a:bodyPr/>
          <a:lstStyle/>
          <a:p>
            <a:r>
              <a:rPr lang="en-GB" dirty="0"/>
              <a:t>Reservation System</a:t>
            </a:r>
            <a:br>
              <a:rPr lang="cs-CZ" dirty="0"/>
            </a:br>
            <a:r>
              <a:rPr lang="cs-CZ" sz="5400" dirty="0"/>
              <a:t>for employees</a:t>
            </a:r>
            <a:endParaRPr lang="en-GB" sz="5400" dirty="0"/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F85FB3D9-5E94-42CB-8DD7-114EF4F78E93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invGray">
          <a:xfrm>
            <a:off x="3251684" y="5445000"/>
            <a:ext cx="5689116" cy="574675"/>
          </a:xfrm>
        </p:spPr>
        <p:txBody>
          <a:bodyPr/>
          <a:lstStyle/>
          <a:p>
            <a:r>
              <a:rPr lang="en-GB" dirty="0"/>
              <a:t>Erik </a:t>
            </a:r>
            <a:r>
              <a:rPr lang="en-GB" dirty="0" err="1"/>
              <a:t>Boh</a:t>
            </a:r>
            <a:r>
              <a:rPr lang="cs-CZ" dirty="0"/>
              <a:t>áč</a:t>
            </a:r>
            <a:r>
              <a:rPr lang="en-GB" dirty="0"/>
              <a:t>,</a:t>
            </a:r>
            <a:r>
              <a:rPr lang="cs-CZ" dirty="0"/>
              <a:t>Václav Vondráček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A78407D-52BE-2373-8814-8513B9905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EA3D6F-D890-492F-9D96-152FE8FB74ED}" type="datetime1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/05/202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BEEE6BF-E303-2E50-5F18-270C1EC80B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zbank AG, Max Mustermann, GM-C Brand Management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326456-6342-C14E-F5AA-40EF51651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EFDB47-5D1C-45E7-8BD0-EF74349B00F7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21994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61446558-75A9-473C-9014-064A5A3BB0BD}"/>
              </a:ext>
            </a:extLst>
          </p:cNvPr>
          <p:cNvSpPr txBox="1">
            <a:spLocks/>
          </p:cNvSpPr>
          <p:nvPr/>
        </p:nvSpPr>
        <p:spPr bwMode="gray">
          <a:xfrm>
            <a:off x="6167438" y="1411289"/>
            <a:ext cx="5689600" cy="5041900"/>
          </a:xfrm>
          <a:prstGeom prst="rect">
            <a:avLst/>
          </a:prstGeom>
        </p:spPr>
        <p:txBody>
          <a:bodyPr vert="horz" lIns="0" tIns="180000" rIns="14400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6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áclav Vondráček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D7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lang="cs-CZ" sz="1600" dirty="0">
                <a:solidFill>
                  <a:srgbClr val="002E3C"/>
                </a:solidFill>
                <a:latin typeface="Arial"/>
              </a:rPr>
              <a:t>IT student at SPŠE Ječná</a:t>
            </a:r>
          </a:p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D7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lang="cs-CZ" sz="1600" dirty="0">
                <a:solidFill>
                  <a:srgbClr val="002E3C"/>
                </a:solidFill>
                <a:latin typeface="Arial"/>
              </a:rPr>
              <a:t>Second grade student</a:t>
            </a:r>
            <a:endParaRPr lang="en-US" sz="1600" dirty="0">
              <a:solidFill>
                <a:srgbClr val="002E3C"/>
              </a:solidFill>
              <a:latin typeface="Arial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D7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lang="en-US" sz="1600" dirty="0">
                <a:solidFill>
                  <a:srgbClr val="002E3C"/>
                </a:solidFill>
                <a:latin typeface="Arial"/>
              </a:rPr>
              <a:t>Email: vondracek@spsejecna.cz</a:t>
            </a:r>
            <a:endParaRPr lang="cs-CZ" sz="1600" dirty="0">
              <a:solidFill>
                <a:srgbClr val="002E3C"/>
              </a:solidFill>
              <a:latin typeface="Arial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D7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FFD70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B991ED-6DD7-47DE-8D22-3B24670AFF3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cs-CZ" dirty="0"/>
              <a:t>About us</a:t>
            </a:r>
            <a:endParaRPr lang="en-GB" dirty="0"/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CCEB390A-B202-4B55-BA69-ABE120AA3D2A}"/>
              </a:ext>
            </a:extLst>
          </p:cNvPr>
          <p:cNvSpPr txBox="1">
            <a:spLocks/>
          </p:cNvSpPr>
          <p:nvPr/>
        </p:nvSpPr>
        <p:spPr bwMode="gray">
          <a:xfrm>
            <a:off x="336550" y="1411289"/>
            <a:ext cx="5689600" cy="5041899"/>
          </a:xfrm>
          <a:prstGeom prst="rect">
            <a:avLst/>
          </a:prstGeom>
          <a:solidFill>
            <a:schemeClr val="accent1"/>
          </a:solidFill>
        </p:spPr>
        <p:txBody>
          <a:bodyPr vert="horz" lIns="180000" tIns="180000" rIns="180000" bIns="216000" rtlCol="0">
            <a:noAutofit/>
          </a:bodyPr>
          <a:lstStyle>
            <a:lvl1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●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eriod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6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D7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ik boháč</a:t>
            </a:r>
          </a:p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●"/>
              <a:tabLst/>
              <a:defRPr/>
            </a:pPr>
            <a:r>
              <a:rPr lang="cs-CZ" sz="1600" dirty="0">
                <a:solidFill>
                  <a:prstClr val="white"/>
                </a:solidFill>
                <a:latin typeface="Arial"/>
              </a:rPr>
              <a:t>IT student at SPŠE Ječná</a:t>
            </a:r>
          </a:p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 g</a:t>
            </a:r>
            <a:r>
              <a:rPr lang="cs-CZ" sz="1600" dirty="0">
                <a:solidFill>
                  <a:prstClr val="white"/>
                </a:solidFill>
                <a:latin typeface="Arial"/>
              </a:rPr>
              <a:t>rade student</a:t>
            </a:r>
            <a:endParaRPr lang="en-US" sz="1600" dirty="0">
              <a:solidFill>
                <a:prstClr val="white"/>
              </a:solidFill>
              <a:latin typeface="Arial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ail: bohac2@spsejecna.cz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B319B7EB-A05F-4E61-AC57-5B02D010A0C4}"/>
              </a:ext>
            </a:extLst>
          </p:cNvPr>
          <p:cNvSpPr txBox="1">
            <a:spLocks/>
          </p:cNvSpPr>
          <p:nvPr/>
        </p:nvSpPr>
        <p:spPr bwMode="gray">
          <a:xfrm>
            <a:off x="6741405" y="4940847"/>
            <a:ext cx="5074358" cy="288032"/>
          </a:xfrm>
          <a:prstGeom prst="rect">
            <a:avLst/>
          </a:prstGeom>
        </p:spPr>
        <p:txBody>
          <a:bodyPr vert="horz" lIns="0" tIns="0" rIns="144000" bIns="0" rtlCol="0" anchor="ctr">
            <a:noAutofit/>
          </a:bodyPr>
          <a:lstStyle>
            <a:lvl1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●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lphaLcPeriod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6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1800" b="1" i="0" u="none" strike="noStrike" kern="1200" cap="none" spc="0" normalizeH="0" baseline="0" noProof="0" dirty="0">
              <a:ln>
                <a:noFill/>
              </a:ln>
              <a:solidFill>
                <a:srgbClr val="FFD7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98E939E-BC44-EB6F-BD91-4F0665DACAF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E30F53-1D19-40BA-A4A8-75C91E7B3FA1}" type="datetime1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/05/202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441233B-8495-A093-2EDD-5E8E34982A3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zbank AG, Max Mustermann, GM-C Brand Management 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B6BDAF2-D82C-BEA9-4C02-5BF6804816C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EFDB47-5D1C-45E7-8BD0-EF74349B00F7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800" b="1" i="0" u="none" strike="noStrike" kern="1200" cap="none" spc="0" normalizeH="0" baseline="0" noProof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8202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19D31D33-8F69-4076-8315-C2ADBEFD67C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0"/>
            <a:ext cx="7631114" cy="1123950"/>
          </a:xfrm>
        </p:spPr>
        <p:txBody>
          <a:bodyPr/>
          <a:lstStyle/>
          <a:p>
            <a:r>
              <a:rPr lang="en-GB" dirty="0"/>
              <a:t>About the system</a:t>
            </a:r>
          </a:p>
        </p:txBody>
      </p:sp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5BA0F326-6A20-0D9D-F285-C02DD80718A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29" r="7829"/>
          <a:stretch>
            <a:fillRect/>
          </a:stretch>
        </p:blipFill>
        <p:spPr bwMode="gray">
          <a:xfrm>
            <a:off x="4962525" y="1644650"/>
            <a:ext cx="6010275" cy="3735388"/>
          </a:xfr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18D428A-A1DF-49B5-946D-B0030356ED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3743326" cy="5041901"/>
          </a:xfrm>
        </p:spPr>
        <p:txBody>
          <a:bodyPr/>
          <a:lstStyle/>
          <a:p>
            <a:pPr lvl="6"/>
            <a:r>
              <a:rPr lang="en-GB" dirty="0"/>
              <a:t>Reservation system</a:t>
            </a:r>
          </a:p>
          <a:p>
            <a:r>
              <a:rPr lang="en-GB" sz="1600" dirty="0"/>
              <a:t>Reservation system for employees</a:t>
            </a:r>
          </a:p>
          <a:p>
            <a:r>
              <a:rPr lang="en-GB" sz="1600" dirty="0"/>
              <a:t>Easy to use, simple layout</a:t>
            </a:r>
          </a:p>
          <a:p>
            <a:r>
              <a:rPr lang="en-GB" sz="1600" dirty="0"/>
              <a:t>Responsive design</a:t>
            </a:r>
          </a:p>
          <a:p>
            <a:r>
              <a:rPr lang="en-GB" sz="1600" dirty="0"/>
              <a:t>Available from website </a:t>
            </a:r>
          </a:p>
          <a:p>
            <a:endParaRPr lang="en-GB" sz="1800" dirty="0"/>
          </a:p>
          <a:p>
            <a:endParaRPr lang="en-GB" sz="1800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9DC939-B048-E68B-EB54-CBEE97B75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35C2ED-5464-4A49-8600-DC4F90D4952E}" type="datetime1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/05/202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B955C3-25DA-13D0-7A81-DCA455B7B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zbank AG, Max Mustermann, GM-C Brand Management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DF0D65-6999-2D2E-6A7C-7E0166E284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EFDB47-5D1C-45E7-8BD0-EF74349B00F7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3346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1EC0A5FF-B97C-4A4E-AA64-A5A1645D6AC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dirty="0"/>
              <a:t>Technologies we used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617EB93-86BC-4A86-8C18-C3329158EC09}"/>
              </a:ext>
            </a:extLst>
          </p:cNvPr>
          <p:cNvGrpSpPr/>
          <p:nvPr/>
        </p:nvGrpSpPr>
        <p:grpSpPr bwMode="gray">
          <a:xfrm>
            <a:off x="326519" y="1411288"/>
            <a:ext cx="3753356" cy="5041901"/>
            <a:chOff x="326519" y="1411288"/>
            <a:chExt cx="3753356" cy="5041901"/>
          </a:xfrm>
        </p:grpSpPr>
        <p:sp>
          <p:nvSpPr>
            <p:cNvPr id="12" name="Textplatzhalter 7">
              <a:extLst>
                <a:ext uri="{FF2B5EF4-FFF2-40B4-BE49-F238E27FC236}">
                  <a16:creationId xmlns:a16="http://schemas.microsoft.com/office/drawing/2014/main" id="{93E1F25E-8926-489A-8E10-AAD14DBED1A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6550" y="1844825"/>
              <a:ext cx="3743325" cy="4608364"/>
            </a:xfrm>
            <a:prstGeom prst="rect">
              <a:avLst/>
            </a:prstGeom>
          </p:spPr>
          <p:txBody>
            <a:bodyPr vert="horz" lIns="0" tIns="0" rIns="14400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79388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rabi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360363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lphaL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2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6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TML &amp; CSS</a:t>
              </a:r>
            </a:p>
            <a:p>
              <a:pPr marL="180000" marR="0" lvl="0" indent="-18000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FD700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TML – structuring content and define elements</a:t>
              </a:r>
            </a:p>
            <a:p>
              <a:pPr marL="180000" marR="0" lvl="0" indent="-18000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FD700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SS – enhancing visual appearance and layout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BF5CF265-F37C-4911-95EC-250576BE7997}"/>
                </a:ext>
              </a:extLst>
            </p:cNvPr>
            <p:cNvSpPr txBox="1"/>
            <p:nvPr/>
          </p:nvSpPr>
          <p:spPr bwMode="gray">
            <a:xfrm>
              <a:off x="326519" y="1411288"/>
              <a:ext cx="451642" cy="25967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>
              <a:spAutoFit/>
            </a:bodyPr>
            <a:lstStyle>
              <a:defPPr>
                <a:defRPr lang="en-GB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" b="1" i="0" u="none" strike="noStrike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D7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1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3337704-06C5-47BC-8484-AFF0D5512E63}"/>
              </a:ext>
            </a:extLst>
          </p:cNvPr>
          <p:cNvGrpSpPr/>
          <p:nvPr/>
        </p:nvGrpSpPr>
        <p:grpSpPr bwMode="gray">
          <a:xfrm>
            <a:off x="4219371" y="1411288"/>
            <a:ext cx="3748292" cy="5041901"/>
            <a:chOff x="4219371" y="1411288"/>
            <a:chExt cx="3748292" cy="5041901"/>
          </a:xfrm>
        </p:grpSpPr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71F6B094-2011-4BE8-B4F1-5D9B155C031D}"/>
                </a:ext>
              </a:extLst>
            </p:cNvPr>
            <p:cNvSpPr txBox="1"/>
            <p:nvPr/>
          </p:nvSpPr>
          <p:spPr bwMode="gray">
            <a:xfrm>
              <a:off x="4219371" y="1411288"/>
              <a:ext cx="451642" cy="25967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>
              <a:spAutoFit/>
            </a:bodyPr>
            <a:lstStyle>
              <a:defPPr>
                <a:defRPr lang="en-GB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" b="1" i="0" u="none" strike="noStrike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D7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2</a:t>
              </a:r>
            </a:p>
          </p:txBody>
        </p:sp>
        <p:sp>
          <p:nvSpPr>
            <p:cNvPr id="13" name="Textplatzhalter 7">
              <a:extLst>
                <a:ext uri="{FF2B5EF4-FFF2-40B4-BE49-F238E27FC236}">
                  <a16:creationId xmlns:a16="http://schemas.microsoft.com/office/drawing/2014/main" id="{97857174-697C-4E17-BA84-343EC35DE9E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24338" y="1844825"/>
              <a:ext cx="3743325" cy="4608364"/>
            </a:xfrm>
            <a:prstGeom prst="rect">
              <a:avLst/>
            </a:prstGeom>
          </p:spPr>
          <p:txBody>
            <a:bodyPr vert="horz" lIns="0" tIns="0" rIns="14400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79388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rabi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360363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lphaL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2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6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avascript</a:t>
              </a:r>
              <a:endPara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180000" marR="0" lvl="0" indent="-18000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FD700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avascript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with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mailjs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for sending notifications to customers</a:t>
              </a:r>
            </a:p>
            <a:p>
              <a:pPr marL="180000" marR="0" lvl="0" indent="-18000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FD700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mployee can simply send emails with one button click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23FF6EB-72ED-4821-88C6-6C9838BE2B1C}"/>
              </a:ext>
            </a:extLst>
          </p:cNvPr>
          <p:cNvGrpSpPr/>
          <p:nvPr/>
        </p:nvGrpSpPr>
        <p:grpSpPr bwMode="gray">
          <a:xfrm>
            <a:off x="8112224" y="1411288"/>
            <a:ext cx="3744814" cy="5041901"/>
            <a:chOff x="8112224" y="1411288"/>
            <a:chExt cx="3744814" cy="5041901"/>
          </a:xfrm>
        </p:grpSpPr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3AE0331C-EF83-4D13-A0E6-8A83A9F347BA}"/>
                </a:ext>
              </a:extLst>
            </p:cNvPr>
            <p:cNvSpPr txBox="1"/>
            <p:nvPr/>
          </p:nvSpPr>
          <p:spPr bwMode="gray">
            <a:xfrm>
              <a:off x="8112224" y="1411288"/>
              <a:ext cx="451642" cy="25967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>
              <a:spAutoFit/>
            </a:bodyPr>
            <a:lstStyle>
              <a:defPPr>
                <a:defRPr lang="en-GB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" b="1" i="0" u="none" strike="noStrike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>
                  <a:ln>
                    <a:noFill/>
                  </a:ln>
                  <a:solidFill>
                    <a:srgbClr val="FFD7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3</a:t>
              </a:r>
            </a:p>
          </p:txBody>
        </p:sp>
        <p:sp>
          <p:nvSpPr>
            <p:cNvPr id="14" name="Textplatzhalter 7">
              <a:extLst>
                <a:ext uri="{FF2B5EF4-FFF2-40B4-BE49-F238E27FC236}">
                  <a16:creationId xmlns:a16="http://schemas.microsoft.com/office/drawing/2014/main" id="{27F77E6C-8089-4438-B7B6-E870E37409D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113713" y="1844825"/>
              <a:ext cx="3743325" cy="4608364"/>
            </a:xfrm>
            <a:prstGeom prst="rect">
              <a:avLst/>
            </a:prstGeom>
          </p:spPr>
          <p:txBody>
            <a:bodyPr vert="horz" lIns="0" tIns="0" rIns="14400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79388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rabi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360363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lphaL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2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6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HP</a:t>
              </a:r>
            </a:p>
            <a:p>
              <a:pPr marL="180000" marR="0" lvl="0" indent="-18000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FD700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-side processing</a:t>
              </a:r>
            </a:p>
            <a:p>
              <a:pPr marL="180000" marR="0" lvl="0" indent="-18000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FD700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SV interactions </a:t>
              </a:r>
            </a:p>
          </p:txBody>
        </p:sp>
      </p:grp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9A1DAF0-3582-9F04-0549-AAE5DB973D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DCC99D-12C0-4A4B-9921-CA7FE9D2BAA1}" type="datetime1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/05/202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C3B4229-62F6-9F53-36A4-1515D62B9CE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zbank AG, Max Mustermann, GM-C Brand Management 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921C3C2-7B68-FC8C-93DB-6BD7A22D735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EFDB47-5D1C-45E7-8BD0-EF74349B00F7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1" i="0" u="none" strike="noStrike" kern="1200" cap="none" spc="0" normalizeH="0" baseline="0" noProof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345C22A-9E2E-A050-A0B1-9AB3A539AAC6}"/>
              </a:ext>
            </a:extLst>
          </p:cNvPr>
          <p:cNvGrpSpPr/>
          <p:nvPr/>
        </p:nvGrpSpPr>
        <p:grpSpPr bwMode="gray">
          <a:xfrm>
            <a:off x="552340" y="3858001"/>
            <a:ext cx="3744814" cy="5041901"/>
            <a:chOff x="8112224" y="1411288"/>
            <a:chExt cx="3744814" cy="5041901"/>
          </a:xfrm>
        </p:grpSpPr>
        <p:sp>
          <p:nvSpPr>
            <p:cNvPr id="5" name="Textfeld 30">
              <a:extLst>
                <a:ext uri="{FF2B5EF4-FFF2-40B4-BE49-F238E27FC236}">
                  <a16:creationId xmlns:a16="http://schemas.microsoft.com/office/drawing/2014/main" id="{C5926A2F-CFAF-4D68-80E5-477A3BE31019}"/>
                </a:ext>
              </a:extLst>
            </p:cNvPr>
            <p:cNvSpPr txBox="1"/>
            <p:nvPr/>
          </p:nvSpPr>
          <p:spPr bwMode="gray">
            <a:xfrm>
              <a:off x="8112224" y="1411288"/>
              <a:ext cx="451642" cy="25967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>
              <a:spAutoFit/>
            </a:bodyPr>
            <a:lstStyle>
              <a:defPPr>
                <a:defRPr lang="en-GB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" b="1" i="0" u="none" strike="noStrike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D7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4</a:t>
              </a:r>
            </a:p>
          </p:txBody>
        </p:sp>
        <p:sp>
          <p:nvSpPr>
            <p:cNvPr id="6" name="Textplatzhalter 7">
              <a:extLst>
                <a:ext uri="{FF2B5EF4-FFF2-40B4-BE49-F238E27FC236}">
                  <a16:creationId xmlns:a16="http://schemas.microsoft.com/office/drawing/2014/main" id="{37899D41-215A-3ADD-5FB6-FDC274E1CC3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113713" y="1844825"/>
              <a:ext cx="3743325" cy="4608364"/>
            </a:xfrm>
            <a:prstGeom prst="rect">
              <a:avLst/>
            </a:prstGeom>
          </p:spPr>
          <p:txBody>
            <a:bodyPr vert="horz" lIns="0" tIns="0" rIns="14400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79388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rabi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360363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lphaL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2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6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SV</a:t>
              </a:r>
            </a:p>
            <a:p>
              <a:pPr marL="180000" marR="0" lvl="0" indent="-18000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FD700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oring data</a:t>
              </a:r>
            </a:p>
            <a:p>
              <a:pPr marL="180000" marR="0" lvl="0" indent="-18000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FFD700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nipulated with PH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9563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19D31D33-8F69-4076-8315-C2ADBEFD67C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6550" y="0"/>
            <a:ext cx="7631114" cy="1123950"/>
          </a:xfrm>
        </p:spPr>
        <p:txBody>
          <a:bodyPr/>
          <a:lstStyle/>
          <a:p>
            <a:r>
              <a:rPr lang="en-GB" dirty="0"/>
              <a:t>Account activation/Login system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18D428A-A1DF-49B5-946D-B0030356ED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5688013" cy="5041901"/>
          </a:xfrm>
        </p:spPr>
        <p:txBody>
          <a:bodyPr/>
          <a:lstStyle/>
          <a:p>
            <a:pPr lvl="6"/>
            <a:r>
              <a:rPr lang="en-GB" dirty="0"/>
              <a:t>Easy to use system</a:t>
            </a:r>
          </a:p>
          <a:p>
            <a:r>
              <a:rPr lang="en-GB" sz="1600" dirty="0"/>
              <a:t>Employer can generate credentials for employees</a:t>
            </a:r>
          </a:p>
          <a:p>
            <a:r>
              <a:rPr lang="en-GB" sz="1600" dirty="0"/>
              <a:t>Employees then have to activate their account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DC833E8-3EEA-C8C6-410E-819528107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AC748-AE6A-4A33-8BB0-2216BDD69758}" type="datetime1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/05/202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9EADDE-9F93-1D7D-7AC9-B4A85B8DF5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zbank AG, Max Mustermann, GM-C Brand Management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A040074-475A-E93B-3D72-19158974ED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EFDB47-5D1C-45E7-8BD0-EF74349B00F7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D05FD104-66C8-C49C-3506-4EC238708C2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" r="42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418242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19D31D33-8F69-4076-8315-C2ADBEFD67C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11859" y="404811"/>
            <a:ext cx="7631113" cy="1123950"/>
          </a:xfrm>
        </p:spPr>
        <p:txBody>
          <a:bodyPr/>
          <a:lstStyle/>
          <a:p>
            <a:r>
              <a:rPr lang="en-GB" dirty="0"/>
              <a:t>Managing reservation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18D428A-A1DF-49B5-946D-B0030356ED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336550" y="1411288"/>
            <a:ext cx="5282854" cy="5041901"/>
          </a:xfrm>
        </p:spPr>
        <p:txBody>
          <a:bodyPr/>
          <a:lstStyle/>
          <a:p>
            <a:pPr lvl="6"/>
            <a:endParaRPr lang="en-GB" dirty="0"/>
          </a:p>
          <a:p>
            <a:r>
              <a:rPr lang="en-GB" sz="1600" dirty="0"/>
              <a:t>Just log in</a:t>
            </a:r>
          </a:p>
          <a:p>
            <a:r>
              <a:rPr lang="en-GB" sz="1600" dirty="0"/>
              <a:t>Choose how many lines do you want to see</a:t>
            </a:r>
          </a:p>
          <a:p>
            <a:r>
              <a:rPr lang="en-GB" sz="1600" dirty="0"/>
              <a:t>See all information about orders</a:t>
            </a:r>
          </a:p>
          <a:p>
            <a:r>
              <a:rPr lang="en-GB" sz="1600" dirty="0"/>
              <a:t>Send emails when orders are ready</a:t>
            </a:r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EA8CF5-69E0-D9AB-E0A1-1FAD16D22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C16618-9CC9-4B1C-864E-109A6B3CEA16}" type="datetime1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/05/202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9E91FC-D46F-E308-712C-24DEB459C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zbank AG, Max Mustermann, GM-C Brand Management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E3F6E0E-5A9F-4C1E-F82E-27B7D24403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EFDB47-5D1C-45E7-8BD0-EF74349B00F7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9E88788C-D14C-1682-38AA-E03D54F957A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0" r="1454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221315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57E1B1-34D0-45B6-958E-02152F9D9F9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dirty="0"/>
              <a:t>Summary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F22AD7F-B2E4-464D-A3DC-1FB5406F8D12}"/>
              </a:ext>
            </a:extLst>
          </p:cNvPr>
          <p:cNvGrpSpPr/>
          <p:nvPr/>
        </p:nvGrpSpPr>
        <p:grpSpPr bwMode="gray">
          <a:xfrm>
            <a:off x="2175784" y="3146890"/>
            <a:ext cx="2293359" cy="2441872"/>
            <a:chOff x="2175784" y="3146890"/>
            <a:chExt cx="2293359" cy="2441872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F3F9CC76-692D-4518-9BF2-33F54275343B}"/>
                </a:ext>
              </a:extLst>
            </p:cNvPr>
            <p:cNvGrpSpPr/>
            <p:nvPr/>
          </p:nvGrpSpPr>
          <p:grpSpPr bwMode="gray">
            <a:xfrm>
              <a:off x="2669143" y="3146890"/>
              <a:ext cx="1039911" cy="1008360"/>
              <a:chOff x="2700707" y="3146890"/>
              <a:chExt cx="1039911" cy="1008360"/>
            </a:xfrm>
          </p:grpSpPr>
          <p:sp>
            <p:nvSpPr>
              <p:cNvPr id="42" name="Ellipse 41">
                <a:extLst>
                  <a:ext uri="{FF2B5EF4-FFF2-40B4-BE49-F238E27FC236}">
                    <a16:creationId xmlns:a16="http://schemas.microsoft.com/office/drawing/2014/main" id="{F9A1BE07-1663-4A6D-A02A-193B972B983D}"/>
                  </a:ext>
                </a:extLst>
              </p:cNvPr>
              <p:cNvSpPr/>
              <p:nvPr/>
            </p:nvSpPr>
            <p:spPr bwMode="gray">
              <a:xfrm>
                <a:off x="2826218" y="3146890"/>
                <a:ext cx="914400" cy="9144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Textfeld 44">
                <a:extLst>
                  <a:ext uri="{FF2B5EF4-FFF2-40B4-BE49-F238E27FC236}">
                    <a16:creationId xmlns:a16="http://schemas.microsoft.com/office/drawing/2014/main" id="{B421AA57-65AC-4F3C-8682-369A0FE205DA}"/>
                  </a:ext>
                </a:extLst>
              </p:cNvPr>
              <p:cNvSpPr txBox="1"/>
              <p:nvPr/>
            </p:nvSpPr>
            <p:spPr bwMode="gray">
              <a:xfrm>
                <a:off x="2700707" y="3895575"/>
                <a:ext cx="388514" cy="259675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tIns="0" rIns="72000" bIns="0" rtlCol="0" anchor="ctr">
                <a:spAutoFit/>
              </a:bodyPr>
              <a:lstStyle>
                <a:defPPr>
                  <a:defRPr lang="en-GB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200" b="1" i="0" u="none" strike="noStrike" cap="none" spc="0" normalizeH="0" baseline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D7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02</a:t>
                </a:r>
              </a:p>
            </p:txBody>
          </p:sp>
        </p:grp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E447EED-EF26-4147-AA20-E1C5BD952565}"/>
                </a:ext>
              </a:extLst>
            </p:cNvPr>
            <p:cNvSpPr/>
            <p:nvPr/>
          </p:nvSpPr>
          <p:spPr bwMode="gray">
            <a:xfrm rot="13500000">
              <a:off x="2175826" y="3887797"/>
              <a:ext cx="275147" cy="275231"/>
            </a:xfrm>
            <a:custGeom>
              <a:avLst/>
              <a:gdLst>
                <a:gd name="connsiteX0" fmla="*/ 0 w 1586894"/>
                <a:gd name="connsiteY0" fmla="*/ 1342427 h 1587378"/>
                <a:gd name="connsiteX1" fmla="*/ 0 w 1586894"/>
                <a:gd name="connsiteY1" fmla="*/ 244467 h 1587378"/>
                <a:gd name="connsiteX2" fmla="*/ 244467 w 1586894"/>
                <a:gd name="connsiteY2" fmla="*/ 0 h 1587378"/>
                <a:gd name="connsiteX3" fmla="*/ 488934 w 1586894"/>
                <a:gd name="connsiteY3" fmla="*/ 244467 h 1587378"/>
                <a:gd name="connsiteX4" fmla="*/ 488934 w 1586894"/>
                <a:gd name="connsiteY4" fmla="*/ 1097960 h 1587378"/>
                <a:gd name="connsiteX5" fmla="*/ 1342427 w 1586894"/>
                <a:gd name="connsiteY5" fmla="*/ 1097960 h 1587378"/>
                <a:gd name="connsiteX6" fmla="*/ 1586894 w 1586894"/>
                <a:gd name="connsiteY6" fmla="*/ 1342427 h 1587378"/>
                <a:gd name="connsiteX7" fmla="*/ 1342427 w 1586894"/>
                <a:gd name="connsiteY7" fmla="*/ 1586894 h 1587378"/>
                <a:gd name="connsiteX8" fmla="*/ 361528 w 1586894"/>
                <a:gd name="connsiteY8" fmla="*/ 1586894 h 1587378"/>
                <a:gd name="connsiteX9" fmla="*/ 361528 w 1586894"/>
                <a:gd name="connsiteY9" fmla="*/ 1587378 h 1587378"/>
                <a:gd name="connsiteX10" fmla="*/ 1587 w 1586894"/>
                <a:gd name="connsiteY10" fmla="*/ 1587378 h 1587378"/>
                <a:gd name="connsiteX11" fmla="*/ 1587 w 1586894"/>
                <a:gd name="connsiteY11" fmla="*/ 1358170 h 1587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86894" h="1587378">
                  <a:moveTo>
                    <a:pt x="0" y="1342427"/>
                  </a:moveTo>
                  <a:lnTo>
                    <a:pt x="0" y="244467"/>
                  </a:lnTo>
                  <a:cubicBezTo>
                    <a:pt x="0" y="109452"/>
                    <a:pt x="109452" y="0"/>
                    <a:pt x="244467" y="0"/>
                  </a:cubicBezTo>
                  <a:cubicBezTo>
                    <a:pt x="379482" y="0"/>
                    <a:pt x="488934" y="109452"/>
                    <a:pt x="488934" y="244467"/>
                  </a:cubicBezTo>
                  <a:lnTo>
                    <a:pt x="488934" y="1097960"/>
                  </a:lnTo>
                  <a:lnTo>
                    <a:pt x="1342427" y="1097960"/>
                  </a:lnTo>
                  <a:cubicBezTo>
                    <a:pt x="1477442" y="1097960"/>
                    <a:pt x="1586894" y="1207412"/>
                    <a:pt x="1586894" y="1342427"/>
                  </a:cubicBezTo>
                  <a:cubicBezTo>
                    <a:pt x="1586894" y="1477442"/>
                    <a:pt x="1477442" y="1586894"/>
                    <a:pt x="1342427" y="1586894"/>
                  </a:cubicBezTo>
                  <a:lnTo>
                    <a:pt x="361528" y="1586894"/>
                  </a:lnTo>
                  <a:lnTo>
                    <a:pt x="361528" y="1587378"/>
                  </a:lnTo>
                  <a:lnTo>
                    <a:pt x="1587" y="1587378"/>
                  </a:lnTo>
                  <a:lnTo>
                    <a:pt x="1587" y="135817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Textplatzhalter 5">
              <a:extLst>
                <a:ext uri="{FF2B5EF4-FFF2-40B4-BE49-F238E27FC236}">
                  <a16:creationId xmlns:a16="http://schemas.microsoft.com/office/drawing/2014/main" id="{BA654772-5591-4C65-A11C-413885EB093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69143" y="4299713"/>
              <a:ext cx="1800000" cy="1289049"/>
            </a:xfrm>
            <a:prstGeom prst="rect">
              <a:avLst/>
            </a:prstGeom>
          </p:spPr>
          <p:txBody>
            <a:bodyPr vert="horz" lIns="0" tIns="0" rIns="14400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79388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rabi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360363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lphaL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2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5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gin</a:t>
              </a:r>
            </a:p>
            <a:p>
              <a:pPr marL="0" marR="0" lvl="5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ith your credentials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DCE90D72-3C84-452A-927C-F908F50D828C}"/>
              </a:ext>
            </a:extLst>
          </p:cNvPr>
          <p:cNvGrpSpPr/>
          <p:nvPr/>
        </p:nvGrpSpPr>
        <p:grpSpPr bwMode="gray">
          <a:xfrm>
            <a:off x="4513337" y="2568356"/>
            <a:ext cx="2293359" cy="2441872"/>
            <a:chOff x="4513337" y="2568356"/>
            <a:chExt cx="2293359" cy="2441872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4A938117-CDE6-4B0B-9090-0B645A81BF46}"/>
                </a:ext>
              </a:extLst>
            </p:cNvPr>
            <p:cNvGrpSpPr/>
            <p:nvPr/>
          </p:nvGrpSpPr>
          <p:grpSpPr bwMode="gray">
            <a:xfrm>
              <a:off x="5006696" y="2568356"/>
              <a:ext cx="1039911" cy="1008360"/>
              <a:chOff x="5038260" y="2568356"/>
              <a:chExt cx="1039911" cy="1008360"/>
            </a:xfrm>
          </p:grpSpPr>
          <p:sp>
            <p:nvSpPr>
              <p:cNvPr id="54" name="Ellipse 53">
                <a:extLst>
                  <a:ext uri="{FF2B5EF4-FFF2-40B4-BE49-F238E27FC236}">
                    <a16:creationId xmlns:a16="http://schemas.microsoft.com/office/drawing/2014/main" id="{774126C7-172C-4D72-96EC-0AD8A57A9CBB}"/>
                  </a:ext>
                </a:extLst>
              </p:cNvPr>
              <p:cNvSpPr/>
              <p:nvPr/>
            </p:nvSpPr>
            <p:spPr bwMode="gray">
              <a:xfrm>
                <a:off x="5163771" y="2568356"/>
                <a:ext cx="914400" cy="9144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Textfeld 54">
                <a:extLst>
                  <a:ext uri="{FF2B5EF4-FFF2-40B4-BE49-F238E27FC236}">
                    <a16:creationId xmlns:a16="http://schemas.microsoft.com/office/drawing/2014/main" id="{FBA08B67-89D3-4F32-864F-F2339BAF275A}"/>
                  </a:ext>
                </a:extLst>
              </p:cNvPr>
              <p:cNvSpPr txBox="1"/>
              <p:nvPr/>
            </p:nvSpPr>
            <p:spPr bwMode="gray">
              <a:xfrm>
                <a:off x="5038260" y="3317041"/>
                <a:ext cx="388514" cy="259675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tIns="0" rIns="72000" bIns="0" rtlCol="0" anchor="ctr">
                <a:spAutoFit/>
              </a:bodyPr>
              <a:lstStyle>
                <a:defPPr>
                  <a:defRPr lang="en-GB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200" b="1" i="0" u="none" strike="noStrike" cap="none" spc="0" normalizeH="0" baseline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D7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03</a:t>
                </a:r>
              </a:p>
            </p:txBody>
          </p:sp>
        </p:grp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8D41016A-E413-420B-AFE7-0A79A1489896}"/>
                </a:ext>
              </a:extLst>
            </p:cNvPr>
            <p:cNvSpPr/>
            <p:nvPr/>
          </p:nvSpPr>
          <p:spPr bwMode="gray">
            <a:xfrm rot="13500000">
              <a:off x="4513379" y="3309263"/>
              <a:ext cx="275147" cy="275231"/>
            </a:xfrm>
            <a:custGeom>
              <a:avLst/>
              <a:gdLst>
                <a:gd name="connsiteX0" fmla="*/ 0 w 1586894"/>
                <a:gd name="connsiteY0" fmla="*/ 1342427 h 1587378"/>
                <a:gd name="connsiteX1" fmla="*/ 0 w 1586894"/>
                <a:gd name="connsiteY1" fmla="*/ 244467 h 1587378"/>
                <a:gd name="connsiteX2" fmla="*/ 244467 w 1586894"/>
                <a:gd name="connsiteY2" fmla="*/ 0 h 1587378"/>
                <a:gd name="connsiteX3" fmla="*/ 488934 w 1586894"/>
                <a:gd name="connsiteY3" fmla="*/ 244467 h 1587378"/>
                <a:gd name="connsiteX4" fmla="*/ 488934 w 1586894"/>
                <a:gd name="connsiteY4" fmla="*/ 1097960 h 1587378"/>
                <a:gd name="connsiteX5" fmla="*/ 1342427 w 1586894"/>
                <a:gd name="connsiteY5" fmla="*/ 1097960 h 1587378"/>
                <a:gd name="connsiteX6" fmla="*/ 1586894 w 1586894"/>
                <a:gd name="connsiteY6" fmla="*/ 1342427 h 1587378"/>
                <a:gd name="connsiteX7" fmla="*/ 1342427 w 1586894"/>
                <a:gd name="connsiteY7" fmla="*/ 1586894 h 1587378"/>
                <a:gd name="connsiteX8" fmla="*/ 361528 w 1586894"/>
                <a:gd name="connsiteY8" fmla="*/ 1586894 h 1587378"/>
                <a:gd name="connsiteX9" fmla="*/ 361528 w 1586894"/>
                <a:gd name="connsiteY9" fmla="*/ 1587378 h 1587378"/>
                <a:gd name="connsiteX10" fmla="*/ 1587 w 1586894"/>
                <a:gd name="connsiteY10" fmla="*/ 1587378 h 1587378"/>
                <a:gd name="connsiteX11" fmla="*/ 1587 w 1586894"/>
                <a:gd name="connsiteY11" fmla="*/ 1358170 h 1587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86894" h="1587378">
                  <a:moveTo>
                    <a:pt x="0" y="1342427"/>
                  </a:moveTo>
                  <a:lnTo>
                    <a:pt x="0" y="244467"/>
                  </a:lnTo>
                  <a:cubicBezTo>
                    <a:pt x="0" y="109452"/>
                    <a:pt x="109452" y="0"/>
                    <a:pt x="244467" y="0"/>
                  </a:cubicBezTo>
                  <a:cubicBezTo>
                    <a:pt x="379482" y="0"/>
                    <a:pt x="488934" y="109452"/>
                    <a:pt x="488934" y="244467"/>
                  </a:cubicBezTo>
                  <a:lnTo>
                    <a:pt x="488934" y="1097960"/>
                  </a:lnTo>
                  <a:lnTo>
                    <a:pt x="1342427" y="1097960"/>
                  </a:lnTo>
                  <a:cubicBezTo>
                    <a:pt x="1477442" y="1097960"/>
                    <a:pt x="1586894" y="1207412"/>
                    <a:pt x="1586894" y="1342427"/>
                  </a:cubicBezTo>
                  <a:cubicBezTo>
                    <a:pt x="1586894" y="1477442"/>
                    <a:pt x="1477442" y="1586894"/>
                    <a:pt x="1342427" y="1586894"/>
                  </a:cubicBezTo>
                  <a:lnTo>
                    <a:pt x="361528" y="1586894"/>
                  </a:lnTo>
                  <a:lnTo>
                    <a:pt x="361528" y="1587378"/>
                  </a:lnTo>
                  <a:lnTo>
                    <a:pt x="1587" y="1587378"/>
                  </a:lnTo>
                  <a:lnTo>
                    <a:pt x="1587" y="135817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Textplatzhalter 5">
              <a:extLst>
                <a:ext uri="{FF2B5EF4-FFF2-40B4-BE49-F238E27FC236}">
                  <a16:creationId xmlns:a16="http://schemas.microsoft.com/office/drawing/2014/main" id="{FD369762-14B5-41D1-A195-8D00BB14CB1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006696" y="3721179"/>
              <a:ext cx="1800000" cy="1289049"/>
            </a:xfrm>
            <a:prstGeom prst="rect">
              <a:avLst/>
            </a:prstGeom>
          </p:spPr>
          <p:txBody>
            <a:bodyPr vert="horz" lIns="0" tIns="0" rIns="14400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79388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rabi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360363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lphaL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2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5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dd Reservation</a:t>
              </a:r>
            </a:p>
            <a:p>
              <a:pPr marL="0" marR="0" lvl="5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</a:t>
              </a:r>
              <a:r>
                <a:rPr lang="da-DK" dirty="0">
                  <a:solidFill>
                    <a:srgbClr val="002E3C"/>
                  </a:solidFill>
                  <a:latin typeface="Arial"/>
                </a:rPr>
                <a:t>nually add new  reservation</a:t>
              </a:r>
              <a:endParaRPr kumimoji="0" lang="da-DK" sz="1200" i="0" u="none" strike="noStrike" kern="1200" cap="none" spc="0" normalizeH="0" baseline="0" noProof="0" dirty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0CC6A609-50F7-409E-A490-855517CC777D}"/>
              </a:ext>
            </a:extLst>
          </p:cNvPr>
          <p:cNvGrpSpPr/>
          <p:nvPr/>
        </p:nvGrpSpPr>
        <p:grpSpPr bwMode="gray">
          <a:xfrm>
            <a:off x="6850890" y="1989822"/>
            <a:ext cx="2293359" cy="2441872"/>
            <a:chOff x="6850890" y="1989822"/>
            <a:chExt cx="2293359" cy="2441872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95D911DD-DA24-4D8C-B726-B452BFE1204A}"/>
                </a:ext>
              </a:extLst>
            </p:cNvPr>
            <p:cNvGrpSpPr/>
            <p:nvPr/>
          </p:nvGrpSpPr>
          <p:grpSpPr bwMode="gray">
            <a:xfrm>
              <a:off x="7344249" y="1989822"/>
              <a:ext cx="1039911" cy="1008360"/>
              <a:chOff x="7375813" y="1989822"/>
              <a:chExt cx="1039911" cy="1008360"/>
            </a:xfrm>
          </p:grpSpPr>
          <p:sp>
            <p:nvSpPr>
              <p:cNvPr id="59" name="Ellipse 58">
                <a:extLst>
                  <a:ext uri="{FF2B5EF4-FFF2-40B4-BE49-F238E27FC236}">
                    <a16:creationId xmlns:a16="http://schemas.microsoft.com/office/drawing/2014/main" id="{262B76AC-A211-49FF-AE87-60A5EBFB77E7}"/>
                  </a:ext>
                </a:extLst>
              </p:cNvPr>
              <p:cNvSpPr/>
              <p:nvPr/>
            </p:nvSpPr>
            <p:spPr bwMode="gray">
              <a:xfrm>
                <a:off x="7501324" y="1989822"/>
                <a:ext cx="914400" cy="9144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B6CA45AC-44B3-459F-9C0B-DCA75F9CE77C}"/>
                  </a:ext>
                </a:extLst>
              </p:cNvPr>
              <p:cNvSpPr txBox="1"/>
              <p:nvPr/>
            </p:nvSpPr>
            <p:spPr bwMode="gray">
              <a:xfrm>
                <a:off x="7375813" y="2738507"/>
                <a:ext cx="388514" cy="259675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tIns="0" rIns="72000" bIns="0" rtlCol="0" anchor="ctr">
                <a:spAutoFit/>
              </a:bodyPr>
              <a:lstStyle>
                <a:defPPr>
                  <a:defRPr lang="en-GB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200" b="1" i="0" u="none" strike="noStrike" cap="none" spc="0" normalizeH="0" baseline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D7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04</a:t>
                </a:r>
              </a:p>
            </p:txBody>
          </p:sp>
        </p:grp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9283CFA-7474-476F-B146-5C650F0F6711}"/>
                </a:ext>
              </a:extLst>
            </p:cNvPr>
            <p:cNvSpPr/>
            <p:nvPr/>
          </p:nvSpPr>
          <p:spPr bwMode="gray">
            <a:xfrm rot="13500000">
              <a:off x="6850932" y="2730729"/>
              <a:ext cx="275147" cy="275231"/>
            </a:xfrm>
            <a:custGeom>
              <a:avLst/>
              <a:gdLst>
                <a:gd name="connsiteX0" fmla="*/ 0 w 1586894"/>
                <a:gd name="connsiteY0" fmla="*/ 1342427 h 1587378"/>
                <a:gd name="connsiteX1" fmla="*/ 0 w 1586894"/>
                <a:gd name="connsiteY1" fmla="*/ 244467 h 1587378"/>
                <a:gd name="connsiteX2" fmla="*/ 244467 w 1586894"/>
                <a:gd name="connsiteY2" fmla="*/ 0 h 1587378"/>
                <a:gd name="connsiteX3" fmla="*/ 488934 w 1586894"/>
                <a:gd name="connsiteY3" fmla="*/ 244467 h 1587378"/>
                <a:gd name="connsiteX4" fmla="*/ 488934 w 1586894"/>
                <a:gd name="connsiteY4" fmla="*/ 1097960 h 1587378"/>
                <a:gd name="connsiteX5" fmla="*/ 1342427 w 1586894"/>
                <a:gd name="connsiteY5" fmla="*/ 1097960 h 1587378"/>
                <a:gd name="connsiteX6" fmla="*/ 1586894 w 1586894"/>
                <a:gd name="connsiteY6" fmla="*/ 1342427 h 1587378"/>
                <a:gd name="connsiteX7" fmla="*/ 1342427 w 1586894"/>
                <a:gd name="connsiteY7" fmla="*/ 1586894 h 1587378"/>
                <a:gd name="connsiteX8" fmla="*/ 361528 w 1586894"/>
                <a:gd name="connsiteY8" fmla="*/ 1586894 h 1587378"/>
                <a:gd name="connsiteX9" fmla="*/ 361528 w 1586894"/>
                <a:gd name="connsiteY9" fmla="*/ 1587378 h 1587378"/>
                <a:gd name="connsiteX10" fmla="*/ 1587 w 1586894"/>
                <a:gd name="connsiteY10" fmla="*/ 1587378 h 1587378"/>
                <a:gd name="connsiteX11" fmla="*/ 1587 w 1586894"/>
                <a:gd name="connsiteY11" fmla="*/ 1358170 h 1587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86894" h="1587378">
                  <a:moveTo>
                    <a:pt x="0" y="1342427"/>
                  </a:moveTo>
                  <a:lnTo>
                    <a:pt x="0" y="244467"/>
                  </a:lnTo>
                  <a:cubicBezTo>
                    <a:pt x="0" y="109452"/>
                    <a:pt x="109452" y="0"/>
                    <a:pt x="244467" y="0"/>
                  </a:cubicBezTo>
                  <a:cubicBezTo>
                    <a:pt x="379482" y="0"/>
                    <a:pt x="488934" y="109452"/>
                    <a:pt x="488934" y="244467"/>
                  </a:cubicBezTo>
                  <a:lnTo>
                    <a:pt x="488934" y="1097960"/>
                  </a:lnTo>
                  <a:lnTo>
                    <a:pt x="1342427" y="1097960"/>
                  </a:lnTo>
                  <a:cubicBezTo>
                    <a:pt x="1477442" y="1097960"/>
                    <a:pt x="1586894" y="1207412"/>
                    <a:pt x="1586894" y="1342427"/>
                  </a:cubicBezTo>
                  <a:cubicBezTo>
                    <a:pt x="1586894" y="1477442"/>
                    <a:pt x="1477442" y="1586894"/>
                    <a:pt x="1342427" y="1586894"/>
                  </a:cubicBezTo>
                  <a:lnTo>
                    <a:pt x="361528" y="1586894"/>
                  </a:lnTo>
                  <a:lnTo>
                    <a:pt x="361528" y="1587378"/>
                  </a:lnTo>
                  <a:lnTo>
                    <a:pt x="1587" y="1587378"/>
                  </a:lnTo>
                  <a:lnTo>
                    <a:pt x="1587" y="135817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Textplatzhalter 5">
              <a:extLst>
                <a:ext uri="{FF2B5EF4-FFF2-40B4-BE49-F238E27FC236}">
                  <a16:creationId xmlns:a16="http://schemas.microsoft.com/office/drawing/2014/main" id="{9BD8CCAA-A453-4CD7-9849-4D4DACCE5AF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344249" y="3142645"/>
              <a:ext cx="1800000" cy="1289049"/>
            </a:xfrm>
            <a:prstGeom prst="rect">
              <a:avLst/>
            </a:prstGeom>
          </p:spPr>
          <p:txBody>
            <a:bodyPr vert="horz" lIns="0" tIns="0" rIns="14400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79388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rabi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360363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lphaL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2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5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arch</a:t>
              </a:r>
            </a:p>
            <a:p>
              <a:pPr marL="0" marR="0" lvl="5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da-DK" dirty="0">
                  <a:solidFill>
                    <a:srgbClr val="002E3C"/>
                  </a:solidFill>
                  <a:latin typeface="Arial"/>
                </a:rPr>
                <a:t>View the full list </a:t>
              </a:r>
              <a:endPara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05020168-E504-41B0-9ABD-B86C40CDFCF6}"/>
              </a:ext>
            </a:extLst>
          </p:cNvPr>
          <p:cNvGrpSpPr/>
          <p:nvPr/>
        </p:nvGrpSpPr>
        <p:grpSpPr bwMode="gray">
          <a:xfrm>
            <a:off x="9188442" y="1411288"/>
            <a:ext cx="2293359" cy="2441872"/>
            <a:chOff x="9188442" y="1411288"/>
            <a:chExt cx="2293359" cy="2441872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341A1C9-11FE-4044-90E2-9344AEB914D3}"/>
                </a:ext>
              </a:extLst>
            </p:cNvPr>
            <p:cNvGrpSpPr/>
            <p:nvPr/>
          </p:nvGrpSpPr>
          <p:grpSpPr bwMode="gray">
            <a:xfrm>
              <a:off x="9681801" y="1411288"/>
              <a:ext cx="1039911" cy="1008360"/>
              <a:chOff x="9713365" y="1411288"/>
              <a:chExt cx="1039911" cy="1008360"/>
            </a:xfrm>
          </p:grpSpPr>
          <p:sp>
            <p:nvSpPr>
              <p:cNvPr id="70" name="Ellipse 69">
                <a:extLst>
                  <a:ext uri="{FF2B5EF4-FFF2-40B4-BE49-F238E27FC236}">
                    <a16:creationId xmlns:a16="http://schemas.microsoft.com/office/drawing/2014/main" id="{2D99D3B1-CA08-466C-AB0F-0EB1403AD83B}"/>
                  </a:ext>
                </a:extLst>
              </p:cNvPr>
              <p:cNvSpPr/>
              <p:nvPr/>
            </p:nvSpPr>
            <p:spPr bwMode="gray">
              <a:xfrm>
                <a:off x="9838876" y="1411288"/>
                <a:ext cx="914400" cy="9144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Textfeld 70">
                <a:extLst>
                  <a:ext uri="{FF2B5EF4-FFF2-40B4-BE49-F238E27FC236}">
                    <a16:creationId xmlns:a16="http://schemas.microsoft.com/office/drawing/2014/main" id="{9BF6E6FE-BDEF-4B9E-9330-11DE129E0ABD}"/>
                  </a:ext>
                </a:extLst>
              </p:cNvPr>
              <p:cNvSpPr txBox="1"/>
              <p:nvPr/>
            </p:nvSpPr>
            <p:spPr bwMode="gray">
              <a:xfrm>
                <a:off x="9713365" y="2159973"/>
                <a:ext cx="388514" cy="259675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tIns="0" rIns="72000" bIns="0" rtlCol="0" anchor="ctr">
                <a:spAutoFit/>
              </a:bodyPr>
              <a:lstStyle>
                <a:defPPr>
                  <a:defRPr lang="en-GB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200" b="1" i="0" u="none" strike="noStrike" cap="none" spc="0" normalizeH="0" baseline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D7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05</a:t>
                </a:r>
              </a:p>
            </p:txBody>
          </p:sp>
        </p:grp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6603D145-A945-4DFE-8059-9B5E355A50CE}"/>
                </a:ext>
              </a:extLst>
            </p:cNvPr>
            <p:cNvSpPr/>
            <p:nvPr/>
          </p:nvSpPr>
          <p:spPr bwMode="gray">
            <a:xfrm rot="13500000">
              <a:off x="9188484" y="2152195"/>
              <a:ext cx="275147" cy="275231"/>
            </a:xfrm>
            <a:custGeom>
              <a:avLst/>
              <a:gdLst>
                <a:gd name="connsiteX0" fmla="*/ 0 w 1586894"/>
                <a:gd name="connsiteY0" fmla="*/ 1342427 h 1587378"/>
                <a:gd name="connsiteX1" fmla="*/ 0 w 1586894"/>
                <a:gd name="connsiteY1" fmla="*/ 244467 h 1587378"/>
                <a:gd name="connsiteX2" fmla="*/ 244467 w 1586894"/>
                <a:gd name="connsiteY2" fmla="*/ 0 h 1587378"/>
                <a:gd name="connsiteX3" fmla="*/ 488934 w 1586894"/>
                <a:gd name="connsiteY3" fmla="*/ 244467 h 1587378"/>
                <a:gd name="connsiteX4" fmla="*/ 488934 w 1586894"/>
                <a:gd name="connsiteY4" fmla="*/ 1097960 h 1587378"/>
                <a:gd name="connsiteX5" fmla="*/ 1342427 w 1586894"/>
                <a:gd name="connsiteY5" fmla="*/ 1097960 h 1587378"/>
                <a:gd name="connsiteX6" fmla="*/ 1586894 w 1586894"/>
                <a:gd name="connsiteY6" fmla="*/ 1342427 h 1587378"/>
                <a:gd name="connsiteX7" fmla="*/ 1342427 w 1586894"/>
                <a:gd name="connsiteY7" fmla="*/ 1586894 h 1587378"/>
                <a:gd name="connsiteX8" fmla="*/ 361528 w 1586894"/>
                <a:gd name="connsiteY8" fmla="*/ 1586894 h 1587378"/>
                <a:gd name="connsiteX9" fmla="*/ 361528 w 1586894"/>
                <a:gd name="connsiteY9" fmla="*/ 1587378 h 1587378"/>
                <a:gd name="connsiteX10" fmla="*/ 1587 w 1586894"/>
                <a:gd name="connsiteY10" fmla="*/ 1587378 h 1587378"/>
                <a:gd name="connsiteX11" fmla="*/ 1587 w 1586894"/>
                <a:gd name="connsiteY11" fmla="*/ 1358170 h 1587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86894" h="1587378">
                  <a:moveTo>
                    <a:pt x="0" y="1342427"/>
                  </a:moveTo>
                  <a:lnTo>
                    <a:pt x="0" y="244467"/>
                  </a:lnTo>
                  <a:cubicBezTo>
                    <a:pt x="0" y="109452"/>
                    <a:pt x="109452" y="0"/>
                    <a:pt x="244467" y="0"/>
                  </a:cubicBezTo>
                  <a:cubicBezTo>
                    <a:pt x="379482" y="0"/>
                    <a:pt x="488934" y="109452"/>
                    <a:pt x="488934" y="244467"/>
                  </a:cubicBezTo>
                  <a:lnTo>
                    <a:pt x="488934" y="1097960"/>
                  </a:lnTo>
                  <a:lnTo>
                    <a:pt x="1342427" y="1097960"/>
                  </a:lnTo>
                  <a:cubicBezTo>
                    <a:pt x="1477442" y="1097960"/>
                    <a:pt x="1586894" y="1207412"/>
                    <a:pt x="1586894" y="1342427"/>
                  </a:cubicBezTo>
                  <a:cubicBezTo>
                    <a:pt x="1586894" y="1477442"/>
                    <a:pt x="1477442" y="1586894"/>
                    <a:pt x="1342427" y="1586894"/>
                  </a:cubicBezTo>
                  <a:lnTo>
                    <a:pt x="361528" y="1586894"/>
                  </a:lnTo>
                  <a:lnTo>
                    <a:pt x="361528" y="1587378"/>
                  </a:lnTo>
                  <a:lnTo>
                    <a:pt x="1587" y="1587378"/>
                  </a:lnTo>
                  <a:lnTo>
                    <a:pt x="1587" y="135817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Textplatzhalter 5">
              <a:extLst>
                <a:ext uri="{FF2B5EF4-FFF2-40B4-BE49-F238E27FC236}">
                  <a16:creationId xmlns:a16="http://schemas.microsoft.com/office/drawing/2014/main" id="{521C83DA-AEFE-4B9E-88EA-2963358DE54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681801" y="2564111"/>
              <a:ext cx="1800000" cy="1289049"/>
            </a:xfrm>
            <a:prstGeom prst="rect">
              <a:avLst/>
            </a:prstGeom>
          </p:spPr>
          <p:txBody>
            <a:bodyPr vert="horz" lIns="0" tIns="0" rIns="14400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79388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rabi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360363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lphaL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2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5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nd email</a:t>
              </a:r>
            </a:p>
            <a:p>
              <a:pPr marL="0" marR="0" lvl="5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da-DK" dirty="0">
                  <a:solidFill>
                    <a:srgbClr val="002E3C"/>
                  </a:solidFill>
                  <a:latin typeface="Arial"/>
                </a:rPr>
                <a:t>Send notification to user</a:t>
              </a:r>
              <a:endPara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F23C01D-C364-48A9-B341-6330CBEBF082}"/>
              </a:ext>
            </a:extLst>
          </p:cNvPr>
          <p:cNvGrpSpPr/>
          <p:nvPr/>
        </p:nvGrpSpPr>
        <p:grpSpPr bwMode="gray">
          <a:xfrm>
            <a:off x="335360" y="3725422"/>
            <a:ext cx="1796530" cy="2441872"/>
            <a:chOff x="335360" y="3725422"/>
            <a:chExt cx="1796530" cy="2441872"/>
          </a:xfrm>
        </p:grpSpPr>
        <p:sp>
          <p:nvSpPr>
            <p:cNvPr id="34" name="Textplatzhalter 5">
              <a:extLst>
                <a:ext uri="{FF2B5EF4-FFF2-40B4-BE49-F238E27FC236}">
                  <a16:creationId xmlns:a16="http://schemas.microsoft.com/office/drawing/2014/main" id="{3D87B97D-D871-4903-B312-B7BFC0952F0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35360" y="4878245"/>
              <a:ext cx="1796530" cy="1289049"/>
            </a:xfrm>
            <a:prstGeom prst="rect">
              <a:avLst/>
            </a:prstGeom>
          </p:spPr>
          <p:txBody>
            <a:bodyPr vert="horz" lIns="0" tIns="0" rIns="14400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60000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540000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●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79388" indent="-179388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rabi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360363" indent="-180975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+mj-lt"/>
                <a:buAutoNum type="alphaLcPeriod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2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5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tivate Account</a:t>
              </a:r>
              <a:endPara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5" indent="0" algn="l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E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t credentials from employer</a:t>
              </a:r>
              <a:endPara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F0BCAE82-FA6F-4DB5-A802-068F98206FF1}"/>
                </a:ext>
              </a:extLst>
            </p:cNvPr>
            <p:cNvSpPr/>
            <p:nvPr/>
          </p:nvSpPr>
          <p:spPr bwMode="gray">
            <a:xfrm>
              <a:off x="460871" y="3725422"/>
              <a:ext cx="914400" cy="9144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03B5FF00-BFC1-41B9-AF06-2E3467066FBD}"/>
                </a:ext>
              </a:extLst>
            </p:cNvPr>
            <p:cNvSpPr txBox="1"/>
            <p:nvPr/>
          </p:nvSpPr>
          <p:spPr bwMode="gray">
            <a:xfrm>
              <a:off x="335360" y="4474107"/>
              <a:ext cx="388514" cy="25967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0" rIns="72000" bIns="0" rtlCol="0" anchor="ctr">
              <a:spAutoFit/>
            </a:bodyPr>
            <a:lstStyle>
              <a:defPPr>
                <a:defRPr lang="en-GB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i="0" u="none" strike="noStrike" cap="none" spc="0" normalizeH="0" baseline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D7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1</a:t>
              </a:r>
            </a:p>
          </p:txBody>
        </p:sp>
        <p:sp>
          <p:nvSpPr>
            <p:cNvPr id="35" name="Grafik 64">
              <a:extLst>
                <a:ext uri="{FF2B5EF4-FFF2-40B4-BE49-F238E27FC236}">
                  <a16:creationId xmlns:a16="http://schemas.microsoft.com/office/drawing/2014/main" id="{CD212C9B-5EA0-4B25-96D8-2573468F78E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66071" y="3925359"/>
              <a:ext cx="504000" cy="514525"/>
            </a:xfrm>
            <a:custGeom>
              <a:avLst/>
              <a:gdLst>
                <a:gd name="connsiteX0" fmla="*/ 267907 w 452549"/>
                <a:gd name="connsiteY0" fmla="*/ 72345 h 462000"/>
                <a:gd name="connsiteX1" fmla="*/ 260557 w 452549"/>
                <a:gd name="connsiteY1" fmla="*/ 21000 h 462000"/>
                <a:gd name="connsiteX2" fmla="*/ 191992 w 452549"/>
                <a:gd name="connsiteY2" fmla="*/ 21000 h 462000"/>
                <a:gd name="connsiteX3" fmla="*/ 184642 w 452549"/>
                <a:gd name="connsiteY3" fmla="*/ 72608 h 462000"/>
                <a:gd name="connsiteX4" fmla="*/ 182910 w 452549"/>
                <a:gd name="connsiteY4" fmla="*/ 84788 h 462000"/>
                <a:gd name="connsiteX5" fmla="*/ 171412 w 452549"/>
                <a:gd name="connsiteY5" fmla="*/ 89250 h 462000"/>
                <a:gd name="connsiteX6" fmla="*/ 130830 w 452549"/>
                <a:gd name="connsiteY6" fmla="*/ 112508 h 462000"/>
                <a:gd name="connsiteX7" fmla="*/ 121275 w 452549"/>
                <a:gd name="connsiteY7" fmla="*/ 120225 h 462000"/>
                <a:gd name="connsiteX8" fmla="*/ 109725 w 452549"/>
                <a:gd name="connsiteY8" fmla="*/ 115500 h 462000"/>
                <a:gd name="connsiteX9" fmla="*/ 61530 w 452549"/>
                <a:gd name="connsiteY9" fmla="*/ 96180 h 462000"/>
                <a:gd name="connsiteX10" fmla="*/ 27247 w 452549"/>
                <a:gd name="connsiteY10" fmla="*/ 155610 h 462000"/>
                <a:gd name="connsiteX11" fmla="*/ 68040 w 452549"/>
                <a:gd name="connsiteY11" fmla="*/ 187583 h 462000"/>
                <a:gd name="connsiteX12" fmla="*/ 77752 w 452549"/>
                <a:gd name="connsiteY12" fmla="*/ 195195 h 462000"/>
                <a:gd name="connsiteX13" fmla="*/ 75862 w 452549"/>
                <a:gd name="connsiteY13" fmla="*/ 207323 h 462000"/>
                <a:gd name="connsiteX14" fmla="*/ 75862 w 452549"/>
                <a:gd name="connsiteY14" fmla="*/ 254573 h 462000"/>
                <a:gd name="connsiteX15" fmla="*/ 77752 w 452549"/>
                <a:gd name="connsiteY15" fmla="*/ 266700 h 462000"/>
                <a:gd name="connsiteX16" fmla="*/ 68040 w 452549"/>
                <a:gd name="connsiteY16" fmla="*/ 274313 h 462000"/>
                <a:gd name="connsiteX17" fmla="*/ 27247 w 452549"/>
                <a:gd name="connsiteY17" fmla="*/ 306285 h 462000"/>
                <a:gd name="connsiteX18" fmla="*/ 61530 w 452549"/>
                <a:gd name="connsiteY18" fmla="*/ 365873 h 462000"/>
                <a:gd name="connsiteX19" fmla="*/ 109725 w 452549"/>
                <a:gd name="connsiteY19" fmla="*/ 346500 h 462000"/>
                <a:gd name="connsiteX20" fmla="*/ 121275 w 452549"/>
                <a:gd name="connsiteY20" fmla="*/ 341775 h 462000"/>
                <a:gd name="connsiteX21" fmla="*/ 130725 w 452549"/>
                <a:gd name="connsiteY21" fmla="*/ 349493 h 462000"/>
                <a:gd name="connsiteX22" fmla="*/ 171412 w 452549"/>
                <a:gd name="connsiteY22" fmla="*/ 373013 h 462000"/>
                <a:gd name="connsiteX23" fmla="*/ 182910 w 452549"/>
                <a:gd name="connsiteY23" fmla="*/ 377475 h 462000"/>
                <a:gd name="connsiteX24" fmla="*/ 184642 w 452549"/>
                <a:gd name="connsiteY24" fmla="*/ 389655 h 462000"/>
                <a:gd name="connsiteX25" fmla="*/ 191992 w 452549"/>
                <a:gd name="connsiteY25" fmla="*/ 441000 h 462000"/>
                <a:gd name="connsiteX26" fmla="*/ 260557 w 452549"/>
                <a:gd name="connsiteY26" fmla="*/ 441000 h 462000"/>
                <a:gd name="connsiteX27" fmla="*/ 267907 w 452549"/>
                <a:gd name="connsiteY27" fmla="*/ 389655 h 462000"/>
                <a:gd name="connsiteX28" fmla="*/ 269640 w 452549"/>
                <a:gd name="connsiteY28" fmla="*/ 377475 h 462000"/>
                <a:gd name="connsiteX29" fmla="*/ 281137 w 452549"/>
                <a:gd name="connsiteY29" fmla="*/ 373013 h 462000"/>
                <a:gd name="connsiteX30" fmla="*/ 321825 w 452549"/>
                <a:gd name="connsiteY30" fmla="*/ 349493 h 462000"/>
                <a:gd name="connsiteX31" fmla="*/ 331275 w 452549"/>
                <a:gd name="connsiteY31" fmla="*/ 341775 h 462000"/>
                <a:gd name="connsiteX32" fmla="*/ 342825 w 452549"/>
                <a:gd name="connsiteY32" fmla="*/ 346500 h 462000"/>
                <a:gd name="connsiteX33" fmla="*/ 391020 w 452549"/>
                <a:gd name="connsiteY33" fmla="*/ 365715 h 462000"/>
                <a:gd name="connsiteX34" fmla="*/ 425302 w 452549"/>
                <a:gd name="connsiteY34" fmla="*/ 306390 h 462000"/>
                <a:gd name="connsiteX35" fmla="*/ 384510 w 452549"/>
                <a:gd name="connsiteY35" fmla="*/ 274418 h 462000"/>
                <a:gd name="connsiteX36" fmla="*/ 374797 w 452549"/>
                <a:gd name="connsiteY36" fmla="*/ 266805 h 462000"/>
                <a:gd name="connsiteX37" fmla="*/ 376687 w 452549"/>
                <a:gd name="connsiteY37" fmla="*/ 254677 h 462000"/>
                <a:gd name="connsiteX38" fmla="*/ 376687 w 452549"/>
                <a:gd name="connsiteY38" fmla="*/ 207427 h 462000"/>
                <a:gd name="connsiteX39" fmla="*/ 374797 w 452549"/>
                <a:gd name="connsiteY39" fmla="*/ 195300 h 462000"/>
                <a:gd name="connsiteX40" fmla="*/ 384510 w 452549"/>
                <a:gd name="connsiteY40" fmla="*/ 187530 h 462000"/>
                <a:gd name="connsiteX41" fmla="*/ 425302 w 452549"/>
                <a:gd name="connsiteY41" fmla="*/ 155558 h 462000"/>
                <a:gd name="connsiteX42" fmla="*/ 391020 w 452549"/>
                <a:gd name="connsiteY42" fmla="*/ 96128 h 462000"/>
                <a:gd name="connsiteX43" fmla="*/ 342825 w 452549"/>
                <a:gd name="connsiteY43" fmla="*/ 115500 h 462000"/>
                <a:gd name="connsiteX44" fmla="*/ 331275 w 452549"/>
                <a:gd name="connsiteY44" fmla="*/ 120225 h 462000"/>
                <a:gd name="connsiteX45" fmla="*/ 321825 w 452549"/>
                <a:gd name="connsiteY45" fmla="*/ 112508 h 462000"/>
                <a:gd name="connsiteX46" fmla="*/ 281137 w 452549"/>
                <a:gd name="connsiteY46" fmla="*/ 88988 h 462000"/>
                <a:gd name="connsiteX47" fmla="*/ 269640 w 452549"/>
                <a:gd name="connsiteY47" fmla="*/ 84525 h 462000"/>
                <a:gd name="connsiteX48" fmla="*/ 267907 w 452549"/>
                <a:gd name="connsiteY48" fmla="*/ 72345 h 462000"/>
                <a:gd name="connsiteX49" fmla="*/ 173775 w 452549"/>
                <a:gd name="connsiteY49" fmla="*/ 0 h 462000"/>
                <a:gd name="connsiteX50" fmla="*/ 278775 w 452549"/>
                <a:gd name="connsiteY50" fmla="*/ 0 h 462000"/>
                <a:gd name="connsiteX51" fmla="*/ 288697 w 452549"/>
                <a:gd name="connsiteY51" fmla="*/ 69563 h 462000"/>
                <a:gd name="connsiteX52" fmla="*/ 335002 w 452549"/>
                <a:gd name="connsiteY52" fmla="*/ 96285 h 462000"/>
                <a:gd name="connsiteX53" fmla="*/ 400050 w 452549"/>
                <a:gd name="connsiteY53" fmla="*/ 70035 h 462000"/>
                <a:gd name="connsiteX54" fmla="*/ 452550 w 452549"/>
                <a:gd name="connsiteY54" fmla="*/ 160965 h 462000"/>
                <a:gd name="connsiteX55" fmla="*/ 397477 w 452549"/>
                <a:gd name="connsiteY55" fmla="*/ 204225 h 462000"/>
                <a:gd name="connsiteX56" fmla="*/ 397477 w 452549"/>
                <a:gd name="connsiteY56" fmla="*/ 257775 h 462000"/>
                <a:gd name="connsiteX57" fmla="*/ 452550 w 452549"/>
                <a:gd name="connsiteY57" fmla="*/ 301193 h 462000"/>
                <a:gd name="connsiteX58" fmla="*/ 400050 w 452549"/>
                <a:gd name="connsiteY58" fmla="*/ 392123 h 462000"/>
                <a:gd name="connsiteX59" fmla="*/ 335002 w 452549"/>
                <a:gd name="connsiteY59" fmla="*/ 365873 h 462000"/>
                <a:gd name="connsiteX60" fmla="*/ 288697 w 452549"/>
                <a:gd name="connsiteY60" fmla="*/ 392595 h 462000"/>
                <a:gd name="connsiteX61" fmla="*/ 278775 w 452549"/>
                <a:gd name="connsiteY61" fmla="*/ 462000 h 462000"/>
                <a:gd name="connsiteX62" fmla="*/ 173775 w 452549"/>
                <a:gd name="connsiteY62" fmla="*/ 462000 h 462000"/>
                <a:gd name="connsiteX63" fmla="*/ 163852 w 452549"/>
                <a:gd name="connsiteY63" fmla="*/ 392438 h 462000"/>
                <a:gd name="connsiteX64" fmla="*/ 117547 w 452549"/>
                <a:gd name="connsiteY64" fmla="*/ 365715 h 462000"/>
                <a:gd name="connsiteX65" fmla="*/ 52500 w 452549"/>
                <a:gd name="connsiteY65" fmla="*/ 391965 h 462000"/>
                <a:gd name="connsiteX66" fmla="*/ 0 w 452549"/>
                <a:gd name="connsiteY66" fmla="*/ 301035 h 462000"/>
                <a:gd name="connsiteX67" fmla="*/ 55072 w 452549"/>
                <a:gd name="connsiteY67" fmla="*/ 257775 h 462000"/>
                <a:gd name="connsiteX68" fmla="*/ 55072 w 452549"/>
                <a:gd name="connsiteY68" fmla="*/ 204225 h 462000"/>
                <a:gd name="connsiteX69" fmla="*/ 0 w 452549"/>
                <a:gd name="connsiteY69" fmla="*/ 160965 h 462000"/>
                <a:gd name="connsiteX70" fmla="*/ 52500 w 452549"/>
                <a:gd name="connsiteY70" fmla="*/ 69878 h 462000"/>
                <a:gd name="connsiteX71" fmla="*/ 117547 w 452549"/>
                <a:gd name="connsiteY71" fmla="*/ 96128 h 462000"/>
                <a:gd name="connsiteX72" fmla="*/ 163852 w 452549"/>
                <a:gd name="connsiteY72" fmla="*/ 69405 h 462000"/>
                <a:gd name="connsiteX73" fmla="*/ 173775 w 452549"/>
                <a:gd name="connsiteY73" fmla="*/ 0 h 462000"/>
                <a:gd name="connsiteX74" fmla="*/ 289275 w 452549"/>
                <a:gd name="connsiteY74" fmla="*/ 231000 h 462000"/>
                <a:gd name="connsiteX75" fmla="*/ 226275 w 452549"/>
                <a:gd name="connsiteY75" fmla="*/ 168000 h 462000"/>
                <a:gd name="connsiteX76" fmla="*/ 163275 w 452549"/>
                <a:gd name="connsiteY76" fmla="*/ 231000 h 462000"/>
                <a:gd name="connsiteX77" fmla="*/ 226275 w 452549"/>
                <a:gd name="connsiteY77" fmla="*/ 294000 h 462000"/>
                <a:gd name="connsiteX78" fmla="*/ 289275 w 452549"/>
                <a:gd name="connsiteY78" fmla="*/ 231000 h 462000"/>
                <a:gd name="connsiteX79" fmla="*/ 142275 w 452549"/>
                <a:gd name="connsiteY79" fmla="*/ 231000 h 462000"/>
                <a:gd name="connsiteX80" fmla="*/ 226275 w 452549"/>
                <a:gd name="connsiteY80" fmla="*/ 147000 h 462000"/>
                <a:gd name="connsiteX81" fmla="*/ 285672 w 452549"/>
                <a:gd name="connsiteY81" fmla="*/ 171603 h 462000"/>
                <a:gd name="connsiteX82" fmla="*/ 310275 w 452549"/>
                <a:gd name="connsiteY82" fmla="*/ 231000 h 462000"/>
                <a:gd name="connsiteX83" fmla="*/ 226275 w 452549"/>
                <a:gd name="connsiteY83" fmla="*/ 315000 h 462000"/>
                <a:gd name="connsiteX84" fmla="*/ 142275 w 452549"/>
                <a:gd name="connsiteY84" fmla="*/ 231000 h 462000"/>
                <a:gd name="connsiteX85" fmla="*/ 347025 w 452549"/>
                <a:gd name="connsiteY85" fmla="*/ 231000 h 462000"/>
                <a:gd name="connsiteX86" fmla="*/ 226275 w 452549"/>
                <a:gd name="connsiteY86" fmla="*/ 351750 h 462000"/>
                <a:gd name="connsiteX87" fmla="*/ 226275 w 452549"/>
                <a:gd name="connsiteY87" fmla="*/ 362250 h 462000"/>
                <a:gd name="connsiteX88" fmla="*/ 357525 w 452549"/>
                <a:gd name="connsiteY88" fmla="*/ 231000 h 462000"/>
                <a:gd name="connsiteX89" fmla="*/ 347025 w 452549"/>
                <a:gd name="connsiteY89" fmla="*/ 231000 h 462000"/>
                <a:gd name="connsiteX90" fmla="*/ 226275 w 452549"/>
                <a:gd name="connsiteY90" fmla="*/ 110250 h 462000"/>
                <a:gd name="connsiteX91" fmla="*/ 105525 w 452549"/>
                <a:gd name="connsiteY91" fmla="*/ 231000 h 462000"/>
                <a:gd name="connsiteX92" fmla="*/ 95025 w 452549"/>
                <a:gd name="connsiteY92" fmla="*/ 231000 h 462000"/>
                <a:gd name="connsiteX93" fmla="*/ 226275 w 452549"/>
                <a:gd name="connsiteY93" fmla="*/ 99750 h 462000"/>
                <a:gd name="connsiteX94" fmla="*/ 226275 w 452549"/>
                <a:gd name="connsiteY94" fmla="*/ 110250 h 4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452549" h="462000">
                  <a:moveTo>
                    <a:pt x="267907" y="72345"/>
                  </a:moveTo>
                  <a:lnTo>
                    <a:pt x="260557" y="21000"/>
                  </a:lnTo>
                  <a:lnTo>
                    <a:pt x="191992" y="21000"/>
                  </a:lnTo>
                  <a:lnTo>
                    <a:pt x="184642" y="72608"/>
                  </a:lnTo>
                  <a:lnTo>
                    <a:pt x="182910" y="84788"/>
                  </a:lnTo>
                  <a:lnTo>
                    <a:pt x="171412" y="89250"/>
                  </a:lnTo>
                  <a:cubicBezTo>
                    <a:pt x="156762" y="94854"/>
                    <a:pt x="143072" y="102701"/>
                    <a:pt x="130830" y="112508"/>
                  </a:cubicBezTo>
                  <a:lnTo>
                    <a:pt x="121275" y="120225"/>
                  </a:lnTo>
                  <a:lnTo>
                    <a:pt x="109725" y="115500"/>
                  </a:lnTo>
                  <a:lnTo>
                    <a:pt x="61530" y="96180"/>
                  </a:lnTo>
                  <a:lnTo>
                    <a:pt x="27247" y="155610"/>
                  </a:lnTo>
                  <a:lnTo>
                    <a:pt x="68040" y="187583"/>
                  </a:lnTo>
                  <a:lnTo>
                    <a:pt x="77752" y="195195"/>
                  </a:lnTo>
                  <a:lnTo>
                    <a:pt x="75862" y="207323"/>
                  </a:lnTo>
                  <a:cubicBezTo>
                    <a:pt x="73404" y="222976"/>
                    <a:pt x="73404" y="238919"/>
                    <a:pt x="75862" y="254573"/>
                  </a:cubicBezTo>
                  <a:lnTo>
                    <a:pt x="77752" y="266700"/>
                  </a:lnTo>
                  <a:lnTo>
                    <a:pt x="68040" y="274313"/>
                  </a:lnTo>
                  <a:lnTo>
                    <a:pt x="27247" y="306285"/>
                  </a:lnTo>
                  <a:lnTo>
                    <a:pt x="61530" y="365873"/>
                  </a:lnTo>
                  <a:lnTo>
                    <a:pt x="109725" y="346500"/>
                  </a:lnTo>
                  <a:lnTo>
                    <a:pt x="121275" y="341775"/>
                  </a:lnTo>
                  <a:lnTo>
                    <a:pt x="130725" y="349493"/>
                  </a:lnTo>
                  <a:cubicBezTo>
                    <a:pt x="142981" y="359402"/>
                    <a:pt x="156709" y="367337"/>
                    <a:pt x="171412" y="373013"/>
                  </a:cubicBezTo>
                  <a:lnTo>
                    <a:pt x="182910" y="377475"/>
                  </a:lnTo>
                  <a:lnTo>
                    <a:pt x="184642" y="389655"/>
                  </a:lnTo>
                  <a:lnTo>
                    <a:pt x="191992" y="441000"/>
                  </a:lnTo>
                  <a:lnTo>
                    <a:pt x="260557" y="441000"/>
                  </a:lnTo>
                  <a:lnTo>
                    <a:pt x="267907" y="389655"/>
                  </a:lnTo>
                  <a:lnTo>
                    <a:pt x="269640" y="377475"/>
                  </a:lnTo>
                  <a:lnTo>
                    <a:pt x="281137" y="373013"/>
                  </a:lnTo>
                  <a:cubicBezTo>
                    <a:pt x="295841" y="367337"/>
                    <a:pt x="309569" y="359402"/>
                    <a:pt x="321825" y="349493"/>
                  </a:cubicBezTo>
                  <a:lnTo>
                    <a:pt x="331275" y="341775"/>
                  </a:lnTo>
                  <a:lnTo>
                    <a:pt x="342825" y="346500"/>
                  </a:lnTo>
                  <a:lnTo>
                    <a:pt x="391020" y="365715"/>
                  </a:lnTo>
                  <a:lnTo>
                    <a:pt x="425302" y="306390"/>
                  </a:lnTo>
                  <a:lnTo>
                    <a:pt x="384510" y="274418"/>
                  </a:lnTo>
                  <a:lnTo>
                    <a:pt x="374797" y="266805"/>
                  </a:lnTo>
                  <a:lnTo>
                    <a:pt x="376687" y="254677"/>
                  </a:lnTo>
                  <a:cubicBezTo>
                    <a:pt x="379147" y="239024"/>
                    <a:pt x="379147" y="223081"/>
                    <a:pt x="376687" y="207427"/>
                  </a:cubicBezTo>
                  <a:lnTo>
                    <a:pt x="374797" y="195300"/>
                  </a:lnTo>
                  <a:lnTo>
                    <a:pt x="384510" y="187530"/>
                  </a:lnTo>
                  <a:lnTo>
                    <a:pt x="425302" y="155558"/>
                  </a:lnTo>
                  <a:lnTo>
                    <a:pt x="391020" y="96128"/>
                  </a:lnTo>
                  <a:lnTo>
                    <a:pt x="342825" y="115500"/>
                  </a:lnTo>
                  <a:lnTo>
                    <a:pt x="331275" y="120225"/>
                  </a:lnTo>
                  <a:lnTo>
                    <a:pt x="321825" y="112508"/>
                  </a:lnTo>
                  <a:cubicBezTo>
                    <a:pt x="309569" y="102598"/>
                    <a:pt x="295841" y="94663"/>
                    <a:pt x="281137" y="88988"/>
                  </a:cubicBezTo>
                  <a:lnTo>
                    <a:pt x="269640" y="84525"/>
                  </a:lnTo>
                  <a:lnTo>
                    <a:pt x="267907" y="72345"/>
                  </a:lnTo>
                  <a:close/>
                  <a:moveTo>
                    <a:pt x="173775" y="0"/>
                  </a:moveTo>
                  <a:lnTo>
                    <a:pt x="278775" y="0"/>
                  </a:lnTo>
                  <a:lnTo>
                    <a:pt x="288697" y="69563"/>
                  </a:lnTo>
                  <a:cubicBezTo>
                    <a:pt x="305414" y="76036"/>
                    <a:pt x="321033" y="85050"/>
                    <a:pt x="335002" y="96285"/>
                  </a:cubicBezTo>
                  <a:lnTo>
                    <a:pt x="400050" y="70035"/>
                  </a:lnTo>
                  <a:lnTo>
                    <a:pt x="452550" y="160965"/>
                  </a:lnTo>
                  <a:lnTo>
                    <a:pt x="397477" y="204225"/>
                  </a:lnTo>
                  <a:cubicBezTo>
                    <a:pt x="400207" y="221971"/>
                    <a:pt x="400207" y="240029"/>
                    <a:pt x="397477" y="257775"/>
                  </a:cubicBezTo>
                  <a:lnTo>
                    <a:pt x="452550" y="301193"/>
                  </a:lnTo>
                  <a:lnTo>
                    <a:pt x="400050" y="392123"/>
                  </a:lnTo>
                  <a:lnTo>
                    <a:pt x="335002" y="365873"/>
                  </a:lnTo>
                  <a:cubicBezTo>
                    <a:pt x="321033" y="377108"/>
                    <a:pt x="305414" y="386121"/>
                    <a:pt x="288697" y="392595"/>
                  </a:cubicBezTo>
                  <a:lnTo>
                    <a:pt x="278775" y="462000"/>
                  </a:lnTo>
                  <a:lnTo>
                    <a:pt x="173775" y="462000"/>
                  </a:lnTo>
                  <a:lnTo>
                    <a:pt x="163852" y="392438"/>
                  </a:lnTo>
                  <a:cubicBezTo>
                    <a:pt x="147135" y="385964"/>
                    <a:pt x="131517" y="376950"/>
                    <a:pt x="117547" y="365715"/>
                  </a:cubicBezTo>
                  <a:lnTo>
                    <a:pt x="52500" y="391965"/>
                  </a:lnTo>
                  <a:lnTo>
                    <a:pt x="0" y="301035"/>
                  </a:lnTo>
                  <a:lnTo>
                    <a:pt x="55072" y="257775"/>
                  </a:lnTo>
                  <a:cubicBezTo>
                    <a:pt x="52342" y="240029"/>
                    <a:pt x="52342" y="221971"/>
                    <a:pt x="55072" y="204225"/>
                  </a:cubicBezTo>
                  <a:lnTo>
                    <a:pt x="0" y="160965"/>
                  </a:lnTo>
                  <a:lnTo>
                    <a:pt x="52500" y="69878"/>
                  </a:lnTo>
                  <a:lnTo>
                    <a:pt x="117547" y="96128"/>
                  </a:lnTo>
                  <a:cubicBezTo>
                    <a:pt x="131517" y="84893"/>
                    <a:pt x="147135" y="75879"/>
                    <a:pt x="163852" y="69405"/>
                  </a:cubicBezTo>
                  <a:lnTo>
                    <a:pt x="173775" y="0"/>
                  </a:lnTo>
                  <a:close/>
                  <a:moveTo>
                    <a:pt x="289275" y="231000"/>
                  </a:moveTo>
                  <a:cubicBezTo>
                    <a:pt x="289275" y="196206"/>
                    <a:pt x="261069" y="168000"/>
                    <a:pt x="226275" y="168000"/>
                  </a:cubicBezTo>
                  <a:cubicBezTo>
                    <a:pt x="191481" y="168000"/>
                    <a:pt x="163275" y="196206"/>
                    <a:pt x="163275" y="231000"/>
                  </a:cubicBezTo>
                  <a:cubicBezTo>
                    <a:pt x="163275" y="265794"/>
                    <a:pt x="191481" y="294000"/>
                    <a:pt x="226275" y="294000"/>
                  </a:cubicBezTo>
                  <a:cubicBezTo>
                    <a:pt x="261069" y="294000"/>
                    <a:pt x="289275" y="265794"/>
                    <a:pt x="289275" y="231000"/>
                  </a:cubicBezTo>
                  <a:close/>
                  <a:moveTo>
                    <a:pt x="142275" y="231000"/>
                  </a:moveTo>
                  <a:cubicBezTo>
                    <a:pt x="142275" y="184608"/>
                    <a:pt x="179883" y="147000"/>
                    <a:pt x="226275" y="147000"/>
                  </a:cubicBezTo>
                  <a:cubicBezTo>
                    <a:pt x="248553" y="147000"/>
                    <a:pt x="269919" y="155850"/>
                    <a:pt x="285672" y="171603"/>
                  </a:cubicBezTo>
                  <a:cubicBezTo>
                    <a:pt x="301425" y="187356"/>
                    <a:pt x="310275" y="208722"/>
                    <a:pt x="310275" y="231000"/>
                  </a:cubicBezTo>
                  <a:cubicBezTo>
                    <a:pt x="310275" y="277392"/>
                    <a:pt x="272667" y="315000"/>
                    <a:pt x="226275" y="315000"/>
                  </a:cubicBezTo>
                  <a:cubicBezTo>
                    <a:pt x="179883" y="315000"/>
                    <a:pt x="142275" y="277392"/>
                    <a:pt x="142275" y="231000"/>
                  </a:cubicBezTo>
                  <a:close/>
                  <a:moveTo>
                    <a:pt x="347025" y="231000"/>
                  </a:moveTo>
                  <a:cubicBezTo>
                    <a:pt x="347025" y="297688"/>
                    <a:pt x="292964" y="351750"/>
                    <a:pt x="226275" y="351750"/>
                  </a:cubicBezTo>
                  <a:lnTo>
                    <a:pt x="226275" y="362250"/>
                  </a:lnTo>
                  <a:cubicBezTo>
                    <a:pt x="298762" y="362250"/>
                    <a:pt x="357525" y="303487"/>
                    <a:pt x="357525" y="231000"/>
                  </a:cubicBezTo>
                  <a:lnTo>
                    <a:pt x="347025" y="231000"/>
                  </a:lnTo>
                  <a:close/>
                  <a:moveTo>
                    <a:pt x="226275" y="110250"/>
                  </a:moveTo>
                  <a:cubicBezTo>
                    <a:pt x="159587" y="110250"/>
                    <a:pt x="105525" y="164312"/>
                    <a:pt x="105525" y="231000"/>
                  </a:cubicBezTo>
                  <a:lnTo>
                    <a:pt x="95025" y="231000"/>
                  </a:lnTo>
                  <a:cubicBezTo>
                    <a:pt x="95025" y="158513"/>
                    <a:pt x="153788" y="99750"/>
                    <a:pt x="226275" y="99750"/>
                  </a:cubicBezTo>
                  <a:lnTo>
                    <a:pt x="226275" y="110250"/>
                  </a:lnTo>
                  <a:close/>
                </a:path>
              </a:pathLst>
            </a:custGeom>
            <a:solidFill>
              <a:schemeClr val="bg1"/>
            </a:solidFill>
            <a:ln w="515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1F9A0F4-C90D-C236-51B9-53F39C90E09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561410-1615-4AA4-9681-6F2DA702581B}" type="datetime1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/05/202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DF8C4120-6A14-0734-381A-2F7E30AF8F8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zbank AG, Max Mustermann, GM-C Brand Management 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57C7DA1-1502-5918-32D2-4F18D7AD39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EFDB47-5D1C-45E7-8BD0-EF74349B00F7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800" b="1" i="0" u="none" strike="noStrike" kern="1200" cap="none" spc="0" normalizeH="0" baseline="0" noProof="0">
              <a:ln>
                <a:noFill/>
              </a:ln>
              <a:solidFill>
                <a:srgbClr val="002E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4105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B69FDC-CBE9-1AEF-479C-9E82B1AAAD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4F47B-E8E7-4E12-B8A1-D6D89B57FE21}" type="datetime1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/05/202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E3C">
                  <a:alpha val="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6A4D1B-B790-A534-4229-B08859C74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2E3C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zbank AG, Max Mustermann, GM-C Brand Management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718B2C-C803-491B-01F6-748240FA5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EFDB47-5D1C-45E7-8BD0-EF74349B00F7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E3C">
                    <a:alpha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E3C">
                  <a:alpha val="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67930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mmerzbank PowerPoint Template 2022">
  <a:themeElements>
    <a:clrScheme name="Commerzbank">
      <a:dk1>
        <a:srgbClr val="002E3C"/>
      </a:dk1>
      <a:lt1>
        <a:sysClr val="window" lastClr="FFFFFF"/>
      </a:lt1>
      <a:dk2>
        <a:srgbClr val="C3CAC8"/>
      </a:dk2>
      <a:lt2>
        <a:srgbClr val="537173"/>
      </a:lt2>
      <a:accent1>
        <a:srgbClr val="002E3C"/>
      </a:accent1>
      <a:accent2>
        <a:srgbClr val="FFD700"/>
      </a:accent2>
      <a:accent3>
        <a:srgbClr val="3A7E8A"/>
      </a:accent3>
      <a:accent4>
        <a:srgbClr val="9B5C2F"/>
      </a:accent4>
      <a:accent5>
        <a:srgbClr val="93C1B4"/>
      </a:accent5>
      <a:accent6>
        <a:srgbClr val="D6C18B"/>
      </a:accent6>
      <a:hlink>
        <a:srgbClr val="00414B"/>
      </a:hlink>
      <a:folHlink>
        <a:srgbClr val="00414B"/>
      </a:folHlink>
    </a:clrScheme>
    <a:fontScheme name="Commerz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lIns="72000" tIns="72000" rIns="72000" bIns="72000" rtlCol="0" anchor="ctr"/>
      <a:lstStyle>
        <a:defPPr algn="ctr">
          <a:lnSpc>
            <a:spcPct val="110000"/>
          </a:lnSpc>
          <a:spcBef>
            <a:spcPts val="600"/>
          </a:spcBef>
          <a:defRPr sz="12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 anchor="t">
        <a:noAutofit/>
      </a:bodyPr>
      <a:lstStyle>
        <a:defPPr marL="180000" indent="-180000" algn="l">
          <a:lnSpc>
            <a:spcPct val="110000"/>
          </a:lnSpc>
          <a:spcBef>
            <a:spcPts val="600"/>
          </a:spcBef>
          <a:buClr>
            <a:schemeClr val="accent2"/>
          </a:buClr>
          <a:buSzPct val="110000"/>
          <a:buFont typeface="Arial" panose="020B0604020202020204" pitchFamily="34" charset="0"/>
          <a:buChar char="●"/>
          <a:defRPr sz="1200" dirty="0" err="1" smtClean="0"/>
        </a:defPPr>
      </a:lstStyle>
    </a:txDef>
  </a:objectDefaults>
  <a:extraClrSchemeLst/>
  <a:custClrLst>
    <a:custClr name="Ocean-Petrol">
      <a:srgbClr val="002E3C"/>
    </a:custClr>
    <a:custClr name="Ocean-Petrol-Sand 1">
      <a:srgbClr val="304D4A"/>
    </a:custClr>
    <a:custClr name="Ocean-Petrol-Sand 2">
      <a:srgbClr val="537173"/>
    </a:custClr>
    <a:custClr name="Ocean-Petrol-Sand 3">
      <a:srgbClr val="778F8D"/>
    </a:custClr>
    <a:custClr name="Ocean-Petrol-Sand 4">
      <a:srgbClr val="A0AEAC"/>
    </a:custClr>
    <a:custClr name="Ocean-Petrol-Sand 5">
      <a:srgbClr val="C3CAC8"/>
    </a:custClr>
    <a:custClr name="Ocean-Petrol-Sand 6">
      <a:srgbClr val="E0E0DD"/>
    </a:custClr>
    <a:custClr name="Error">
      <a:srgbClr val="DB000F"/>
    </a:custClr>
    <a:custClr name="Warning">
      <a:srgbClr val="F49300"/>
    </a:custClr>
    <a:custClr name="Success">
      <a:srgbClr val="009E39"/>
    </a:custClr>
    <a:custClr name="Coast">
      <a:srgbClr val="3A7E8A"/>
    </a:custClr>
    <a:custClr name="Mint">
      <a:srgbClr val="93C1B4"/>
    </a:custClr>
    <a:custClr name="Pistachio">
      <a:srgbClr val="D5DBB6"/>
    </a:custClr>
    <a:custClr name="Harvest">
      <a:srgbClr val="D6C18B"/>
    </a:custClr>
    <a:custClr name="Maple">
      <a:srgbClr val="BF925E"/>
    </a:custClr>
    <a:custClr name="Clay">
      <a:srgbClr val="9B5C2F"/>
    </a:custClr>
    <a:custClr name="Sand">
      <a:srgbClr val="EBEAE6"/>
    </a:custClr>
  </a:custClrLst>
  <a:extLst>
    <a:ext uri="{05A4C25C-085E-4340-85A3-A5531E510DB2}">
      <thm15:themeFamily xmlns:thm15="http://schemas.microsoft.com/office/thememl/2012/main" name="CB_PPT_Slide library_16_9_EN_EXP_2022_v8.potx" id="{2C52C053-D663-4E57-BC19-288437CB3AD7}" vid="{16C7D88F-B16D-4FD3-BCDA-10486FD41F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9</Words>
  <Application>Microsoft Office PowerPoint</Application>
  <PresentationFormat>Widescreen</PresentationFormat>
  <Paragraphs>96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Calibri</vt:lpstr>
      <vt:lpstr>Commerzbank PowerPoint Template 2022</vt:lpstr>
      <vt:lpstr>think-cell Slide</vt:lpstr>
      <vt:lpstr>Reservation System for employees</vt:lpstr>
      <vt:lpstr>About us</vt:lpstr>
      <vt:lpstr>About the system</vt:lpstr>
      <vt:lpstr>Technologies we used </vt:lpstr>
      <vt:lpstr>Account activation/Login system</vt:lpstr>
      <vt:lpstr>Managing reservations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ervation System for employees</dc:title>
  <dc:creator>Vondracek, Vaclav</dc:creator>
  <cp:lastModifiedBy>Vondracek, Vaclav</cp:lastModifiedBy>
  <cp:revision>1</cp:revision>
  <dcterms:created xsi:type="dcterms:W3CDTF">2023-05-26T08:08:48Z</dcterms:created>
  <dcterms:modified xsi:type="dcterms:W3CDTF">2023-05-26T09:56:09Z</dcterms:modified>
</cp:coreProperties>
</file>